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60" r:id="rId2"/>
    <p:sldId id="291" r:id="rId3"/>
    <p:sldId id="290" r:id="rId4"/>
    <p:sldId id="292" r:id="rId5"/>
    <p:sldId id="279" r:id="rId6"/>
    <p:sldId id="284" r:id="rId7"/>
    <p:sldId id="285" r:id="rId8"/>
    <p:sldId id="340" r:id="rId9"/>
    <p:sldId id="286" r:id="rId10"/>
    <p:sldId id="288" r:id="rId11"/>
    <p:sldId id="275" r:id="rId12"/>
  </p:sldIdLst>
  <p:sldSz cx="12192000" cy="6858000"/>
  <p:notesSz cx="6797675" cy="9926638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1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323" userDrawn="1">
          <p15:clr>
            <a:srgbClr val="A4A3A4"/>
          </p15:clr>
        </p15:guide>
        <p15:guide id="4" orient="horz" pos="2183" userDrawn="1">
          <p15:clr>
            <a:srgbClr val="A4A3A4"/>
          </p15:clr>
        </p15:guide>
        <p15:guide id="5" pos="279" userDrawn="1">
          <p15:clr>
            <a:srgbClr val="A4A3A4"/>
          </p15:clr>
        </p15:guide>
        <p15:guide id="6" pos="9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EC6DC"/>
    <a:srgbClr val="DEEBF7"/>
    <a:srgbClr val="445171"/>
    <a:srgbClr val="CC0000"/>
    <a:srgbClr val="C55A11"/>
    <a:srgbClr val="FF7C80"/>
    <a:srgbClr val="7799B2"/>
    <a:srgbClr val="295E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0" autoAdjust="0"/>
    <p:restoredTop sz="94365" autoAdjust="0"/>
  </p:normalViewPr>
  <p:slideViewPr>
    <p:cSldViewPr snapToGrid="0" showGuides="1">
      <p:cViewPr>
        <p:scale>
          <a:sx n="110" d="100"/>
          <a:sy n="110" d="100"/>
        </p:scale>
        <p:origin x="1194" y="78"/>
      </p:cViewPr>
      <p:guideLst>
        <p:guide orient="horz" pos="391"/>
        <p:guide pos="3840"/>
        <p:guide orient="horz" pos="323"/>
        <p:guide orient="horz" pos="2183"/>
        <p:guide pos="279"/>
        <p:guide pos="9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 /><Relationship Id="rId13" Type="http://schemas.openxmlformats.org/officeDocument/2006/relationships/notesMaster" Target="notesMasters/notesMaster1.xml" /><Relationship Id="rId3" Type="http://schemas.openxmlformats.org/officeDocument/2006/relationships/slide" Target="slides/slide2.xml" /><Relationship Id="rId7" Type="http://schemas.openxmlformats.org/officeDocument/2006/relationships/slide" Target="slides/slide6.xml" /><Relationship Id="rId12" Type="http://schemas.openxmlformats.org/officeDocument/2006/relationships/slide" Target="slides/slide11.xml" /><Relationship Id="rId17" Type="http://schemas.openxmlformats.org/officeDocument/2006/relationships/tableStyles" Target="tableStyles.xml" /><Relationship Id="rId2" Type="http://schemas.openxmlformats.org/officeDocument/2006/relationships/slide" Target="slides/slide1.xml" /><Relationship Id="rId16" Type="http://schemas.openxmlformats.org/officeDocument/2006/relationships/theme" Target="theme/theme1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5.xml" /><Relationship Id="rId11" Type="http://schemas.openxmlformats.org/officeDocument/2006/relationships/slide" Target="slides/slide10.xml" /><Relationship Id="rId5" Type="http://schemas.openxmlformats.org/officeDocument/2006/relationships/slide" Target="slides/slide4.xml" /><Relationship Id="rId15" Type="http://schemas.openxmlformats.org/officeDocument/2006/relationships/viewProps" Target="viewProps.xml" /><Relationship Id="rId10" Type="http://schemas.openxmlformats.org/officeDocument/2006/relationships/slide" Target="slides/slide9.xml" /><Relationship Id="rId4" Type="http://schemas.openxmlformats.org/officeDocument/2006/relationships/slide" Target="slides/slide3.xml" /><Relationship Id="rId9" Type="http://schemas.openxmlformats.org/officeDocument/2006/relationships/slide" Target="slides/slide8.xml" /><Relationship Id="rId14" Type="http://schemas.openxmlformats.org/officeDocument/2006/relationships/presProps" Target="presProps.xml" 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A488C8E-874B-4E24-A44C-61FC5FE7DBF5}" type="doc">
      <dgm:prSet loTypeId="urn:microsoft.com/office/officeart/2005/8/layout/list1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9C8F80C8-CD88-4AB7-BE1B-54E921D45076}">
      <dgm:prSet phldrT="[Текст]" custT="1"/>
      <dgm:spPr/>
      <dgm:t>
        <a:bodyPr/>
        <a:lstStyle/>
        <a:p>
          <a:r>
            <a:rPr lang="ru-RU" sz="900" b="1" dirty="0">
              <a:latin typeface="Arial" panose="020B0604020202020204" pitchFamily="34" charset="0"/>
              <a:cs typeface="Arial" panose="020B0604020202020204" pitchFamily="34" charset="0"/>
            </a:rPr>
            <a:t>З -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зиянды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еңбек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жағдайларының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көрсеткіші</a:t>
          </a:r>
          <a:endParaRPr lang="ru-RU" sz="9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E07E673-D7B6-4EA3-A6E6-70A1FB921237}" type="parTrans" cxnId="{70F89192-F0E9-454E-A8B2-B874F3421B01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3563D2-C2A8-48E4-90BB-7196320CCFEC}" type="sibTrans" cxnId="{70F89192-F0E9-454E-A8B2-B874F3421B01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51499C0-4E75-45FC-9B37-A464DE0095F5}">
      <dgm:prSet phldrT="[Текст]" custT="1"/>
      <dgm:spPr/>
      <dgm:t>
        <a:bodyPr/>
        <a:lstStyle/>
        <a:p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30 фактор 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химиялық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,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физикалық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,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биологиялық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,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психофизиологиялық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)</a:t>
          </a:r>
          <a:endParaRPr lang="ru-RU" sz="800" kern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A9412BF-A7AA-4928-96A2-8358FC5F3316}" type="parTrans" cxnId="{6792ADDA-24E6-4171-9E6C-3C911778306D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3CAE631-F3D3-461E-AEBB-804D5B09AE06}" type="sibTrans" cxnId="{6792ADDA-24E6-4171-9E6C-3C911778306D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50FC6D-8EA6-49E6-AAF3-99A92B1F2953}">
      <dgm:prSet phldrT="[Текст]" custT="1"/>
      <dgm:spPr/>
      <dgm:t>
        <a:bodyPr/>
        <a:lstStyle/>
        <a:p>
          <a:r>
            <a:rPr lang="ru-RU" sz="900" b="1" dirty="0">
              <a:latin typeface="Arial" panose="020B0604020202020204" pitchFamily="34" charset="0"/>
              <a:cs typeface="Arial" panose="020B0604020202020204" pitchFamily="34" charset="0"/>
            </a:rPr>
            <a:t>Е</a:t>
          </a:r>
          <a:r>
            <a:rPr lang="ru-RU" sz="9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еңбек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жағдайларының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жарақаттану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қауіптілігінің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көрсеткіші</a:t>
          </a:r>
          <a:endParaRPr lang="ru-RU" sz="9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E9C446A-9586-46FA-8377-2B4E78ACD101}" type="parTrans" cxnId="{7E3D362D-940A-4D4C-9C59-139F7AECFB5E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BFEFD1A-47E0-4D01-81D7-A75A7AE3F554}" type="sibTrans" cxnId="{7E3D362D-940A-4D4C-9C59-139F7AECFB5E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56FEAD8-5C1D-4F09-9E2A-0E3109CE2E92}">
      <dgm:prSet phldrT="[Текст]" custT="1"/>
      <dgm:spPr/>
      <dgm:t>
        <a:bodyPr/>
        <a:lstStyle/>
        <a:p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10 фактор (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механикалық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)</a:t>
          </a:r>
        </a:p>
      </dgm:t>
    </dgm:pt>
    <dgm:pt modelId="{EC5DEA24-7AC2-497C-B5A8-927384AB2B30}" type="parTrans" cxnId="{AA57715F-4D6F-4EC5-A39A-4514CF0E15C0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565D789-0FE3-4CB7-9E93-6470725F1A4B}" type="sibTrans" cxnId="{AA57715F-4D6F-4EC5-A39A-4514CF0E15C0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7E7D413-60CB-472B-AD3F-CA8381F0DB05}">
      <dgm:prSet phldrT="[Текст]" custT="1"/>
      <dgm:spPr/>
      <dgm:t>
        <a:bodyPr/>
        <a:lstStyle/>
        <a:p>
          <a:r>
            <a:rPr lang="ru-RU" sz="900" b="1" dirty="0" err="1">
              <a:latin typeface="Arial" panose="020B0604020202020204" pitchFamily="34" charset="0"/>
              <a:cs typeface="Arial" panose="020B0604020202020204" pitchFamily="34" charset="0"/>
            </a:rPr>
            <a:t>Жб</a:t>
          </a:r>
          <a:r>
            <a:rPr lang="ru-RU" sz="900" b="1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жабдықтың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қауіпсіздік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көрсеткіші</a:t>
          </a:r>
          <a:endParaRPr lang="ru-RU" sz="9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A106E2E-F1FD-4517-B3AB-9A7E41C80C28}" type="parTrans" cxnId="{16F3F571-F4DD-4322-8546-C091E508EA61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603BFC6-99D4-464D-AE95-8D26410044C3}" type="sibTrans" cxnId="{16F3F571-F4DD-4322-8546-C091E508EA61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32887FB-F158-491A-8B84-4EF9DC733CEC}">
      <dgm:prSet phldrT="[Текст]" custT="1"/>
      <dgm:spPr/>
      <dgm:t>
        <a:bodyPr/>
        <a:lstStyle/>
        <a:p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10 фактор 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құжаттық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және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визуалды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бағалау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)</a:t>
          </a:r>
        </a:p>
      </dgm:t>
    </dgm:pt>
    <dgm:pt modelId="{40AE27F4-9000-479D-B4B3-9A05FD848580}" type="parTrans" cxnId="{D6106C7D-E757-4365-BBB8-5199D883FC56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FCCDAE0-A2BD-42B6-97C9-4AE345B329D7}" type="sibTrans" cxnId="{D6106C7D-E757-4365-BBB8-5199D883FC56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3EE0B95-2AFC-4E8F-9C8E-754BF2D118E3}">
      <dgm:prSet phldrT="[Текст]" custT="1"/>
      <dgm:spPr/>
      <dgm:t>
        <a:bodyPr/>
        <a:lstStyle/>
        <a:p>
          <a:r>
            <a:rPr lang="ru-RU" sz="900" b="1" dirty="0">
              <a:latin typeface="Arial" panose="020B0604020202020204" pitchFamily="34" charset="0"/>
              <a:cs typeface="Arial" panose="020B0604020202020204" pitchFamily="34" charset="0"/>
            </a:rPr>
            <a:t>ЖҚҚ</a:t>
          </a:r>
          <a:r>
            <a:rPr lang="ru-RU" sz="9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қамтамасыз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ету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көрсеткіші</a:t>
          </a:r>
          <a:endParaRPr lang="ru-RU" sz="9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945C404-200D-4651-8670-B2D99AAC6F60}" type="parTrans" cxnId="{4FE3C428-E6A1-430C-B599-D7492877EF6F}">
      <dgm:prSet/>
      <dgm:spPr/>
      <dgm:t>
        <a:bodyPr/>
        <a:lstStyle/>
        <a:p>
          <a:endParaRPr lang="ru-RU" sz="900"/>
        </a:p>
      </dgm:t>
    </dgm:pt>
    <dgm:pt modelId="{9A2F3381-C27F-4139-B0C5-774B73B6035C}" type="sibTrans" cxnId="{4FE3C428-E6A1-430C-B599-D7492877EF6F}">
      <dgm:prSet/>
      <dgm:spPr/>
      <dgm:t>
        <a:bodyPr/>
        <a:lstStyle/>
        <a:p>
          <a:endParaRPr lang="ru-RU" sz="900"/>
        </a:p>
      </dgm:t>
    </dgm:pt>
    <dgm:pt modelId="{4BA5F481-D864-4399-AA35-E9F02F777ECB}">
      <dgm:prSet phldrT="[Текст]" custT="1"/>
      <dgm:spPr/>
      <dgm:t>
        <a:bodyPr/>
        <a:lstStyle/>
        <a:p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3 критерий 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сапа сертификаты,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нормаға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сәйкестігі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,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техникалық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құжаттаманың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болуы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)</a:t>
          </a:r>
        </a:p>
      </dgm:t>
    </dgm:pt>
    <dgm:pt modelId="{F9BA69D8-7B62-4604-A06D-2BBBCD95D86B}" type="parTrans" cxnId="{C5DC53C9-8C60-4633-9440-13FE79BECAA0}">
      <dgm:prSet/>
      <dgm:spPr/>
      <dgm:t>
        <a:bodyPr/>
        <a:lstStyle/>
        <a:p>
          <a:endParaRPr lang="ru-RU" sz="900"/>
        </a:p>
      </dgm:t>
    </dgm:pt>
    <dgm:pt modelId="{1D652C5A-75C8-4CEF-8DCB-A08F08C048AA}" type="sibTrans" cxnId="{C5DC53C9-8C60-4633-9440-13FE79BECAA0}">
      <dgm:prSet/>
      <dgm:spPr/>
      <dgm:t>
        <a:bodyPr/>
        <a:lstStyle/>
        <a:p>
          <a:endParaRPr lang="ru-RU" sz="900"/>
        </a:p>
      </dgm:t>
    </dgm:pt>
    <dgm:pt modelId="{793BAC42-01BD-4B1F-8C00-AC97766E9FC5}">
      <dgm:prSet phldrT="[Текст]" custT="1"/>
      <dgm:spPr/>
      <dgm:t>
        <a:bodyPr/>
        <a:lstStyle/>
        <a:p>
          <a:r>
            <a:rPr lang="ru-RU" sz="900" b="1" dirty="0">
              <a:latin typeface="Arial" panose="020B0604020202020204" pitchFamily="34" charset="0"/>
              <a:cs typeface="Arial" panose="020B0604020202020204" pitchFamily="34" charset="0"/>
            </a:rPr>
            <a:t>С</a:t>
          </a:r>
          <a:r>
            <a:rPr lang="ru-RU" sz="9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сырқаттанушылық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dirty="0" err="1">
              <a:latin typeface="Arial" panose="020B0604020202020204" pitchFamily="34" charset="0"/>
              <a:cs typeface="Arial" panose="020B0604020202020204" pitchFamily="34" charset="0"/>
            </a:rPr>
            <a:t>көрсеткіші</a:t>
          </a:r>
          <a:endParaRPr lang="ru-RU" sz="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C3B73AD-0CCF-4E69-9D98-F561F46EB3FE}" type="parTrans" cxnId="{8E51DC90-5607-4CB1-B0B4-E51699DE089F}">
      <dgm:prSet/>
      <dgm:spPr/>
      <dgm:t>
        <a:bodyPr/>
        <a:lstStyle/>
        <a:p>
          <a:endParaRPr lang="ru-RU" sz="900"/>
        </a:p>
      </dgm:t>
    </dgm:pt>
    <dgm:pt modelId="{8DEBCBF6-8922-4804-88E7-53F2F4698F66}" type="sibTrans" cxnId="{8E51DC90-5607-4CB1-B0B4-E51699DE089F}">
      <dgm:prSet/>
      <dgm:spPr/>
      <dgm:t>
        <a:bodyPr/>
        <a:lstStyle/>
        <a:p>
          <a:endParaRPr lang="ru-RU" sz="900"/>
        </a:p>
      </dgm:t>
    </dgm:pt>
    <dgm:pt modelId="{6C0855D4-585D-4AC7-998D-76A06DA71107}">
      <dgm:prSet phldrT="[Текст]" custT="1"/>
      <dgm:spPr/>
      <dgm:t>
        <a:bodyPr/>
        <a:lstStyle/>
        <a:p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Критерийлер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және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медициналық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тексеру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зиянды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еңбек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жағдайларының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ұзақтығы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,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жедел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респираторлық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вирустық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инфекция,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созылмалы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аурулар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)</a:t>
          </a:r>
        </a:p>
      </dgm:t>
    </dgm:pt>
    <dgm:pt modelId="{26C83B19-B8DF-4153-9B1B-85043B2F1ECF}" type="parTrans" cxnId="{1F53BB28-317E-4017-A2B1-AB522DEF0AB7}">
      <dgm:prSet/>
      <dgm:spPr/>
      <dgm:t>
        <a:bodyPr/>
        <a:lstStyle/>
        <a:p>
          <a:endParaRPr lang="ru-RU" sz="900"/>
        </a:p>
      </dgm:t>
    </dgm:pt>
    <dgm:pt modelId="{36016EBC-9EB7-4BFC-94C2-ABEC3DEE6F44}" type="sibTrans" cxnId="{1F53BB28-317E-4017-A2B1-AB522DEF0AB7}">
      <dgm:prSet/>
      <dgm:spPr/>
      <dgm:t>
        <a:bodyPr/>
        <a:lstStyle/>
        <a:p>
          <a:endParaRPr lang="ru-RU" sz="900"/>
        </a:p>
      </dgm:t>
    </dgm:pt>
    <dgm:pt modelId="{66C6072E-EAFA-40A4-9666-6A5BD9226E73}" type="pres">
      <dgm:prSet presAssocID="{5A488C8E-874B-4E24-A44C-61FC5FE7DBF5}" presName="linear" presStyleCnt="0">
        <dgm:presLayoutVars>
          <dgm:dir/>
          <dgm:animLvl val="lvl"/>
          <dgm:resizeHandles val="exact"/>
        </dgm:presLayoutVars>
      </dgm:prSet>
      <dgm:spPr/>
    </dgm:pt>
    <dgm:pt modelId="{5D6C78B5-C1EE-4968-83C7-1B63B39A6438}" type="pres">
      <dgm:prSet presAssocID="{9C8F80C8-CD88-4AB7-BE1B-54E921D45076}" presName="parentLin" presStyleCnt="0"/>
      <dgm:spPr/>
    </dgm:pt>
    <dgm:pt modelId="{24246054-A320-44A3-BDB0-52BCC39392FD}" type="pres">
      <dgm:prSet presAssocID="{9C8F80C8-CD88-4AB7-BE1B-54E921D45076}" presName="parentLeftMargin" presStyleLbl="node1" presStyleIdx="0" presStyleCnt="5"/>
      <dgm:spPr/>
    </dgm:pt>
    <dgm:pt modelId="{CA1661FE-6B6B-4FEB-94D1-EDEB54B44CEA}" type="pres">
      <dgm:prSet presAssocID="{9C8F80C8-CD88-4AB7-BE1B-54E921D45076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5B25EE45-C8EB-4B28-A8E2-3BBEA04BD6A4}" type="pres">
      <dgm:prSet presAssocID="{9C8F80C8-CD88-4AB7-BE1B-54E921D45076}" presName="negativeSpace" presStyleCnt="0"/>
      <dgm:spPr/>
    </dgm:pt>
    <dgm:pt modelId="{AA043A2D-AC0D-45DA-A430-4A2929065D5E}" type="pres">
      <dgm:prSet presAssocID="{9C8F80C8-CD88-4AB7-BE1B-54E921D45076}" presName="childText" presStyleLbl="conFgAcc1" presStyleIdx="0" presStyleCnt="5">
        <dgm:presLayoutVars>
          <dgm:bulletEnabled val="1"/>
        </dgm:presLayoutVars>
      </dgm:prSet>
      <dgm:spPr/>
    </dgm:pt>
    <dgm:pt modelId="{840A9F57-4D71-4A03-AB06-C677E7E75516}" type="pres">
      <dgm:prSet presAssocID="{6F3563D2-C2A8-48E4-90BB-7196320CCFEC}" presName="spaceBetweenRectangles" presStyleCnt="0"/>
      <dgm:spPr/>
    </dgm:pt>
    <dgm:pt modelId="{5149039B-13CA-4FB3-B022-7C3D3727AEFA}" type="pres">
      <dgm:prSet presAssocID="{A950FC6D-8EA6-49E6-AAF3-99A92B1F2953}" presName="parentLin" presStyleCnt="0"/>
      <dgm:spPr/>
    </dgm:pt>
    <dgm:pt modelId="{BC643187-136A-45FE-9B5C-536CF21E0CD4}" type="pres">
      <dgm:prSet presAssocID="{A950FC6D-8EA6-49E6-AAF3-99A92B1F2953}" presName="parentLeftMargin" presStyleLbl="node1" presStyleIdx="0" presStyleCnt="5"/>
      <dgm:spPr/>
    </dgm:pt>
    <dgm:pt modelId="{FC8D12F6-91BA-4E5C-ACE4-284BF996CFCA}" type="pres">
      <dgm:prSet presAssocID="{A950FC6D-8EA6-49E6-AAF3-99A92B1F2953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003BC6CB-0D5A-418D-9D3F-FAD66DA28DCD}" type="pres">
      <dgm:prSet presAssocID="{A950FC6D-8EA6-49E6-AAF3-99A92B1F2953}" presName="negativeSpace" presStyleCnt="0"/>
      <dgm:spPr/>
    </dgm:pt>
    <dgm:pt modelId="{04919FCD-F9A7-41FC-9364-5B44487C2098}" type="pres">
      <dgm:prSet presAssocID="{A950FC6D-8EA6-49E6-AAF3-99A92B1F2953}" presName="childText" presStyleLbl="conFgAcc1" presStyleIdx="1" presStyleCnt="5">
        <dgm:presLayoutVars>
          <dgm:bulletEnabled val="1"/>
        </dgm:presLayoutVars>
      </dgm:prSet>
      <dgm:spPr/>
    </dgm:pt>
    <dgm:pt modelId="{51420D1A-2A57-4DD9-AA05-65ADC2322441}" type="pres">
      <dgm:prSet presAssocID="{FBFEFD1A-47E0-4D01-81D7-A75A7AE3F554}" presName="spaceBetweenRectangles" presStyleCnt="0"/>
      <dgm:spPr/>
    </dgm:pt>
    <dgm:pt modelId="{FFA39E83-6E31-4033-BC80-299303585EE0}" type="pres">
      <dgm:prSet presAssocID="{57E7D413-60CB-472B-AD3F-CA8381F0DB05}" presName="parentLin" presStyleCnt="0"/>
      <dgm:spPr/>
    </dgm:pt>
    <dgm:pt modelId="{5702478E-1A39-42AC-BCD7-5B91205C58C9}" type="pres">
      <dgm:prSet presAssocID="{57E7D413-60CB-472B-AD3F-CA8381F0DB05}" presName="parentLeftMargin" presStyleLbl="node1" presStyleIdx="1" presStyleCnt="5"/>
      <dgm:spPr/>
    </dgm:pt>
    <dgm:pt modelId="{437A16E6-9F9F-4F70-BC33-B45BCEE905BC}" type="pres">
      <dgm:prSet presAssocID="{57E7D413-60CB-472B-AD3F-CA8381F0DB05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68DB13BB-4831-4595-8BB1-A0D3088FEA33}" type="pres">
      <dgm:prSet presAssocID="{57E7D413-60CB-472B-AD3F-CA8381F0DB05}" presName="negativeSpace" presStyleCnt="0"/>
      <dgm:spPr/>
    </dgm:pt>
    <dgm:pt modelId="{D965B1B7-7894-4057-8B72-7020A88963AC}" type="pres">
      <dgm:prSet presAssocID="{57E7D413-60CB-472B-AD3F-CA8381F0DB05}" presName="childText" presStyleLbl="conFgAcc1" presStyleIdx="2" presStyleCnt="5">
        <dgm:presLayoutVars>
          <dgm:bulletEnabled val="1"/>
        </dgm:presLayoutVars>
      </dgm:prSet>
      <dgm:spPr/>
    </dgm:pt>
    <dgm:pt modelId="{FA236D7E-5213-4497-AB5C-1FAF9A731461}" type="pres">
      <dgm:prSet presAssocID="{8603BFC6-99D4-464D-AE95-8D26410044C3}" presName="spaceBetweenRectangles" presStyleCnt="0"/>
      <dgm:spPr/>
    </dgm:pt>
    <dgm:pt modelId="{A109D415-ACD4-4257-9AC4-294F511E63F7}" type="pres">
      <dgm:prSet presAssocID="{C3EE0B95-2AFC-4E8F-9C8E-754BF2D118E3}" presName="parentLin" presStyleCnt="0"/>
      <dgm:spPr/>
    </dgm:pt>
    <dgm:pt modelId="{3D9AB049-36FF-4C00-A821-00A6780ED620}" type="pres">
      <dgm:prSet presAssocID="{C3EE0B95-2AFC-4E8F-9C8E-754BF2D118E3}" presName="parentLeftMargin" presStyleLbl="node1" presStyleIdx="2" presStyleCnt="5"/>
      <dgm:spPr/>
    </dgm:pt>
    <dgm:pt modelId="{03E9823F-CC22-453F-A0ED-E44531248454}" type="pres">
      <dgm:prSet presAssocID="{C3EE0B95-2AFC-4E8F-9C8E-754BF2D118E3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72E7083B-B1E1-4ADD-8FAD-75DCB3AD77AD}" type="pres">
      <dgm:prSet presAssocID="{C3EE0B95-2AFC-4E8F-9C8E-754BF2D118E3}" presName="negativeSpace" presStyleCnt="0"/>
      <dgm:spPr/>
    </dgm:pt>
    <dgm:pt modelId="{23734018-6D38-4A6A-8D9D-5F5B1A618520}" type="pres">
      <dgm:prSet presAssocID="{C3EE0B95-2AFC-4E8F-9C8E-754BF2D118E3}" presName="childText" presStyleLbl="conFgAcc1" presStyleIdx="3" presStyleCnt="5">
        <dgm:presLayoutVars>
          <dgm:bulletEnabled val="1"/>
        </dgm:presLayoutVars>
      </dgm:prSet>
      <dgm:spPr/>
    </dgm:pt>
    <dgm:pt modelId="{95330198-66E8-4960-8548-F9070141C292}" type="pres">
      <dgm:prSet presAssocID="{9A2F3381-C27F-4139-B0C5-774B73B6035C}" presName="spaceBetweenRectangles" presStyleCnt="0"/>
      <dgm:spPr/>
    </dgm:pt>
    <dgm:pt modelId="{FDCD93A2-6D68-4D2D-9AB8-ACA37625A25F}" type="pres">
      <dgm:prSet presAssocID="{793BAC42-01BD-4B1F-8C00-AC97766E9FC5}" presName="parentLin" presStyleCnt="0"/>
      <dgm:spPr/>
    </dgm:pt>
    <dgm:pt modelId="{653269D8-2554-4D4D-B8F9-B4891B568711}" type="pres">
      <dgm:prSet presAssocID="{793BAC42-01BD-4B1F-8C00-AC97766E9FC5}" presName="parentLeftMargin" presStyleLbl="node1" presStyleIdx="3" presStyleCnt="5"/>
      <dgm:spPr/>
    </dgm:pt>
    <dgm:pt modelId="{17D90311-B1DD-4731-A186-C0F30C76B4D5}" type="pres">
      <dgm:prSet presAssocID="{793BAC42-01BD-4B1F-8C00-AC97766E9FC5}" presName="parentText" presStyleLbl="node1" presStyleIdx="4" presStyleCnt="5">
        <dgm:presLayoutVars>
          <dgm:chMax val="0"/>
          <dgm:bulletEnabled val="1"/>
        </dgm:presLayoutVars>
      </dgm:prSet>
      <dgm:spPr/>
    </dgm:pt>
    <dgm:pt modelId="{B10E9FA2-4581-4EA9-B225-A6B150DBB69C}" type="pres">
      <dgm:prSet presAssocID="{793BAC42-01BD-4B1F-8C00-AC97766E9FC5}" presName="negativeSpace" presStyleCnt="0"/>
      <dgm:spPr/>
    </dgm:pt>
    <dgm:pt modelId="{4606ABA5-9E96-4675-8373-B6BEE5D9A0F4}" type="pres">
      <dgm:prSet presAssocID="{793BAC42-01BD-4B1F-8C00-AC97766E9FC5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A4075100-40CA-431B-9431-F6B5BA1FFDEE}" type="presOf" srcId="{E51499C0-4E75-45FC-9B37-A464DE0095F5}" destId="{AA043A2D-AC0D-45DA-A430-4A2929065D5E}" srcOrd="0" destOrd="0" presId="urn:microsoft.com/office/officeart/2005/8/layout/list1"/>
    <dgm:cxn modelId="{BF28D806-FD21-4B0C-A9EF-AE44FF0E72F1}" type="presOf" srcId="{5A488C8E-874B-4E24-A44C-61FC5FE7DBF5}" destId="{66C6072E-EAFA-40A4-9666-6A5BD9226E73}" srcOrd="0" destOrd="0" presId="urn:microsoft.com/office/officeart/2005/8/layout/list1"/>
    <dgm:cxn modelId="{E274770F-5CF5-4CB3-B918-2EE741291AE6}" type="presOf" srcId="{C3EE0B95-2AFC-4E8F-9C8E-754BF2D118E3}" destId="{03E9823F-CC22-453F-A0ED-E44531248454}" srcOrd="1" destOrd="0" presId="urn:microsoft.com/office/officeart/2005/8/layout/list1"/>
    <dgm:cxn modelId="{17DB8613-AA0F-456D-801A-F0EE8E486A01}" type="presOf" srcId="{B56FEAD8-5C1D-4F09-9E2A-0E3109CE2E92}" destId="{04919FCD-F9A7-41FC-9364-5B44487C2098}" srcOrd="0" destOrd="0" presId="urn:microsoft.com/office/officeart/2005/8/layout/list1"/>
    <dgm:cxn modelId="{237BCC23-CA56-4E0A-9F25-ECE17064CA8F}" type="presOf" srcId="{57E7D413-60CB-472B-AD3F-CA8381F0DB05}" destId="{437A16E6-9F9F-4F70-BC33-B45BCEE905BC}" srcOrd="1" destOrd="0" presId="urn:microsoft.com/office/officeart/2005/8/layout/list1"/>
    <dgm:cxn modelId="{DC60F223-C855-45B5-93F3-08DBA71DB0DF}" type="presOf" srcId="{6C0855D4-585D-4AC7-998D-76A06DA71107}" destId="{4606ABA5-9E96-4675-8373-B6BEE5D9A0F4}" srcOrd="0" destOrd="0" presId="urn:microsoft.com/office/officeart/2005/8/layout/list1"/>
    <dgm:cxn modelId="{1F53BB28-317E-4017-A2B1-AB522DEF0AB7}" srcId="{793BAC42-01BD-4B1F-8C00-AC97766E9FC5}" destId="{6C0855D4-585D-4AC7-998D-76A06DA71107}" srcOrd="0" destOrd="0" parTransId="{26C83B19-B8DF-4153-9B1B-85043B2F1ECF}" sibTransId="{36016EBC-9EB7-4BFC-94C2-ABEC3DEE6F44}"/>
    <dgm:cxn modelId="{4FE3C428-E6A1-430C-B599-D7492877EF6F}" srcId="{5A488C8E-874B-4E24-A44C-61FC5FE7DBF5}" destId="{C3EE0B95-2AFC-4E8F-9C8E-754BF2D118E3}" srcOrd="3" destOrd="0" parTransId="{C945C404-200D-4651-8670-B2D99AAC6F60}" sibTransId="{9A2F3381-C27F-4139-B0C5-774B73B6035C}"/>
    <dgm:cxn modelId="{7E3D362D-940A-4D4C-9C59-139F7AECFB5E}" srcId="{5A488C8E-874B-4E24-A44C-61FC5FE7DBF5}" destId="{A950FC6D-8EA6-49E6-AAF3-99A92B1F2953}" srcOrd="1" destOrd="0" parTransId="{EE9C446A-9586-46FA-8377-2B4E78ACD101}" sibTransId="{FBFEFD1A-47E0-4D01-81D7-A75A7AE3F554}"/>
    <dgm:cxn modelId="{8146083F-5766-4AFF-84F7-2E7AF1E6B19D}" type="presOf" srcId="{F32887FB-F158-491A-8B84-4EF9DC733CEC}" destId="{D965B1B7-7894-4057-8B72-7020A88963AC}" srcOrd="0" destOrd="0" presId="urn:microsoft.com/office/officeart/2005/8/layout/list1"/>
    <dgm:cxn modelId="{AA57715F-4D6F-4EC5-A39A-4514CF0E15C0}" srcId="{A950FC6D-8EA6-49E6-AAF3-99A92B1F2953}" destId="{B56FEAD8-5C1D-4F09-9E2A-0E3109CE2E92}" srcOrd="0" destOrd="0" parTransId="{EC5DEA24-7AC2-497C-B5A8-927384AB2B30}" sibTransId="{3565D789-0FE3-4CB7-9E93-6470725F1A4B}"/>
    <dgm:cxn modelId="{481FD565-73D8-4E89-8E9D-43F2D7377057}" type="presOf" srcId="{4BA5F481-D864-4399-AA35-E9F02F777ECB}" destId="{23734018-6D38-4A6A-8D9D-5F5B1A618520}" srcOrd="0" destOrd="0" presId="urn:microsoft.com/office/officeart/2005/8/layout/list1"/>
    <dgm:cxn modelId="{572A9C6C-FBD1-4CF8-80FE-48B864B50650}" type="presOf" srcId="{A950FC6D-8EA6-49E6-AAF3-99A92B1F2953}" destId="{FC8D12F6-91BA-4E5C-ACE4-284BF996CFCA}" srcOrd="1" destOrd="0" presId="urn:microsoft.com/office/officeart/2005/8/layout/list1"/>
    <dgm:cxn modelId="{3EBAC86D-9402-405A-AF2D-911194AA2F19}" type="presOf" srcId="{9C8F80C8-CD88-4AB7-BE1B-54E921D45076}" destId="{24246054-A320-44A3-BDB0-52BCC39392FD}" srcOrd="0" destOrd="0" presId="urn:microsoft.com/office/officeart/2005/8/layout/list1"/>
    <dgm:cxn modelId="{16F3F571-F4DD-4322-8546-C091E508EA61}" srcId="{5A488C8E-874B-4E24-A44C-61FC5FE7DBF5}" destId="{57E7D413-60CB-472B-AD3F-CA8381F0DB05}" srcOrd="2" destOrd="0" parTransId="{5A106E2E-F1FD-4517-B3AB-9A7E41C80C28}" sibTransId="{8603BFC6-99D4-464D-AE95-8D26410044C3}"/>
    <dgm:cxn modelId="{2EF06576-6523-43C0-ABD6-F897FBEAB3BD}" type="presOf" srcId="{793BAC42-01BD-4B1F-8C00-AC97766E9FC5}" destId="{653269D8-2554-4D4D-B8F9-B4891B568711}" srcOrd="0" destOrd="0" presId="urn:microsoft.com/office/officeart/2005/8/layout/list1"/>
    <dgm:cxn modelId="{993FDE77-A043-49A2-8F71-69629D67054F}" type="presOf" srcId="{57E7D413-60CB-472B-AD3F-CA8381F0DB05}" destId="{5702478E-1A39-42AC-BCD7-5B91205C58C9}" srcOrd="0" destOrd="0" presId="urn:microsoft.com/office/officeart/2005/8/layout/list1"/>
    <dgm:cxn modelId="{04F2D45A-30D2-4E93-8AF4-22198942280B}" type="presOf" srcId="{9C8F80C8-CD88-4AB7-BE1B-54E921D45076}" destId="{CA1661FE-6B6B-4FEB-94D1-EDEB54B44CEA}" srcOrd="1" destOrd="0" presId="urn:microsoft.com/office/officeart/2005/8/layout/list1"/>
    <dgm:cxn modelId="{D6106C7D-E757-4365-BBB8-5199D883FC56}" srcId="{57E7D413-60CB-472B-AD3F-CA8381F0DB05}" destId="{F32887FB-F158-491A-8B84-4EF9DC733CEC}" srcOrd="0" destOrd="0" parTransId="{40AE27F4-9000-479D-B4B3-9A05FD848580}" sibTransId="{DFCCDAE0-A2BD-42B6-97C9-4AE345B329D7}"/>
    <dgm:cxn modelId="{8E51DC90-5607-4CB1-B0B4-E51699DE089F}" srcId="{5A488C8E-874B-4E24-A44C-61FC5FE7DBF5}" destId="{793BAC42-01BD-4B1F-8C00-AC97766E9FC5}" srcOrd="4" destOrd="0" parTransId="{0C3B73AD-0CCF-4E69-9D98-F561F46EB3FE}" sibTransId="{8DEBCBF6-8922-4804-88E7-53F2F4698F66}"/>
    <dgm:cxn modelId="{70F89192-F0E9-454E-A8B2-B874F3421B01}" srcId="{5A488C8E-874B-4E24-A44C-61FC5FE7DBF5}" destId="{9C8F80C8-CD88-4AB7-BE1B-54E921D45076}" srcOrd="0" destOrd="0" parTransId="{2E07E673-D7B6-4EA3-A6E6-70A1FB921237}" sibTransId="{6F3563D2-C2A8-48E4-90BB-7196320CCFEC}"/>
    <dgm:cxn modelId="{455D81C7-1664-418F-9296-882DEBDFFD4F}" type="presOf" srcId="{793BAC42-01BD-4B1F-8C00-AC97766E9FC5}" destId="{17D90311-B1DD-4731-A186-C0F30C76B4D5}" srcOrd="1" destOrd="0" presId="urn:microsoft.com/office/officeart/2005/8/layout/list1"/>
    <dgm:cxn modelId="{C5DC53C9-8C60-4633-9440-13FE79BECAA0}" srcId="{C3EE0B95-2AFC-4E8F-9C8E-754BF2D118E3}" destId="{4BA5F481-D864-4399-AA35-E9F02F777ECB}" srcOrd="0" destOrd="0" parTransId="{F9BA69D8-7B62-4604-A06D-2BBBCD95D86B}" sibTransId="{1D652C5A-75C8-4CEF-8DCB-A08F08C048AA}"/>
    <dgm:cxn modelId="{617E3AD5-42AE-4D44-AF2C-1CA2EB8E0A8E}" type="presOf" srcId="{C3EE0B95-2AFC-4E8F-9C8E-754BF2D118E3}" destId="{3D9AB049-36FF-4C00-A821-00A6780ED620}" srcOrd="0" destOrd="0" presId="urn:microsoft.com/office/officeart/2005/8/layout/list1"/>
    <dgm:cxn modelId="{416C14D8-E8A5-4665-8B3B-7FB08C34E172}" type="presOf" srcId="{A950FC6D-8EA6-49E6-AAF3-99A92B1F2953}" destId="{BC643187-136A-45FE-9B5C-536CF21E0CD4}" srcOrd="0" destOrd="0" presId="urn:microsoft.com/office/officeart/2005/8/layout/list1"/>
    <dgm:cxn modelId="{6792ADDA-24E6-4171-9E6C-3C911778306D}" srcId="{9C8F80C8-CD88-4AB7-BE1B-54E921D45076}" destId="{E51499C0-4E75-45FC-9B37-A464DE0095F5}" srcOrd="0" destOrd="0" parTransId="{5A9412BF-A7AA-4928-96A2-8358FC5F3316}" sibTransId="{33CAE631-F3D3-461E-AEBB-804D5B09AE06}"/>
    <dgm:cxn modelId="{78A3C425-94F7-4F55-BC2A-0DFBC83D13FB}" type="presParOf" srcId="{66C6072E-EAFA-40A4-9666-6A5BD9226E73}" destId="{5D6C78B5-C1EE-4968-83C7-1B63B39A6438}" srcOrd="0" destOrd="0" presId="urn:microsoft.com/office/officeart/2005/8/layout/list1"/>
    <dgm:cxn modelId="{FF4A21EE-FC1B-48C0-A7AC-B0B22031C8BC}" type="presParOf" srcId="{5D6C78B5-C1EE-4968-83C7-1B63B39A6438}" destId="{24246054-A320-44A3-BDB0-52BCC39392FD}" srcOrd="0" destOrd="0" presId="urn:microsoft.com/office/officeart/2005/8/layout/list1"/>
    <dgm:cxn modelId="{43C8C407-E2E8-47D0-B956-14897C786256}" type="presParOf" srcId="{5D6C78B5-C1EE-4968-83C7-1B63B39A6438}" destId="{CA1661FE-6B6B-4FEB-94D1-EDEB54B44CEA}" srcOrd="1" destOrd="0" presId="urn:microsoft.com/office/officeart/2005/8/layout/list1"/>
    <dgm:cxn modelId="{6F6245EF-52FA-440F-83D9-4501A1DAA055}" type="presParOf" srcId="{66C6072E-EAFA-40A4-9666-6A5BD9226E73}" destId="{5B25EE45-C8EB-4B28-A8E2-3BBEA04BD6A4}" srcOrd="1" destOrd="0" presId="urn:microsoft.com/office/officeart/2005/8/layout/list1"/>
    <dgm:cxn modelId="{C0184B12-2833-4430-8212-0D5C5E4DF6F2}" type="presParOf" srcId="{66C6072E-EAFA-40A4-9666-6A5BD9226E73}" destId="{AA043A2D-AC0D-45DA-A430-4A2929065D5E}" srcOrd="2" destOrd="0" presId="urn:microsoft.com/office/officeart/2005/8/layout/list1"/>
    <dgm:cxn modelId="{B6A58134-B4F3-4A68-9B80-D688F61E43A5}" type="presParOf" srcId="{66C6072E-EAFA-40A4-9666-6A5BD9226E73}" destId="{840A9F57-4D71-4A03-AB06-C677E7E75516}" srcOrd="3" destOrd="0" presId="urn:microsoft.com/office/officeart/2005/8/layout/list1"/>
    <dgm:cxn modelId="{E6BF2019-3CE6-4432-9FF3-1624AD8AD456}" type="presParOf" srcId="{66C6072E-EAFA-40A4-9666-6A5BD9226E73}" destId="{5149039B-13CA-4FB3-B022-7C3D3727AEFA}" srcOrd="4" destOrd="0" presId="urn:microsoft.com/office/officeart/2005/8/layout/list1"/>
    <dgm:cxn modelId="{E0B85CE8-C40A-4292-A560-7DBCA6E000B2}" type="presParOf" srcId="{5149039B-13CA-4FB3-B022-7C3D3727AEFA}" destId="{BC643187-136A-45FE-9B5C-536CF21E0CD4}" srcOrd="0" destOrd="0" presId="urn:microsoft.com/office/officeart/2005/8/layout/list1"/>
    <dgm:cxn modelId="{DD885B42-459A-4C1C-8E68-8E35166BC3EB}" type="presParOf" srcId="{5149039B-13CA-4FB3-B022-7C3D3727AEFA}" destId="{FC8D12F6-91BA-4E5C-ACE4-284BF996CFCA}" srcOrd="1" destOrd="0" presId="urn:microsoft.com/office/officeart/2005/8/layout/list1"/>
    <dgm:cxn modelId="{2FA48413-5C6E-4881-8312-ADEED211A160}" type="presParOf" srcId="{66C6072E-EAFA-40A4-9666-6A5BD9226E73}" destId="{003BC6CB-0D5A-418D-9D3F-FAD66DA28DCD}" srcOrd="5" destOrd="0" presId="urn:microsoft.com/office/officeart/2005/8/layout/list1"/>
    <dgm:cxn modelId="{AB8B5D7F-BC07-4A9B-9FC3-E6889456D084}" type="presParOf" srcId="{66C6072E-EAFA-40A4-9666-6A5BD9226E73}" destId="{04919FCD-F9A7-41FC-9364-5B44487C2098}" srcOrd="6" destOrd="0" presId="urn:microsoft.com/office/officeart/2005/8/layout/list1"/>
    <dgm:cxn modelId="{FDEF5F2A-836F-4185-AFF9-B0E9B1FBA432}" type="presParOf" srcId="{66C6072E-EAFA-40A4-9666-6A5BD9226E73}" destId="{51420D1A-2A57-4DD9-AA05-65ADC2322441}" srcOrd="7" destOrd="0" presId="urn:microsoft.com/office/officeart/2005/8/layout/list1"/>
    <dgm:cxn modelId="{63730989-429D-4E11-B96C-65E6B86566E4}" type="presParOf" srcId="{66C6072E-EAFA-40A4-9666-6A5BD9226E73}" destId="{FFA39E83-6E31-4033-BC80-299303585EE0}" srcOrd="8" destOrd="0" presId="urn:microsoft.com/office/officeart/2005/8/layout/list1"/>
    <dgm:cxn modelId="{51CE78B1-26E1-41EC-A1FD-E01DA380CCB8}" type="presParOf" srcId="{FFA39E83-6E31-4033-BC80-299303585EE0}" destId="{5702478E-1A39-42AC-BCD7-5B91205C58C9}" srcOrd="0" destOrd="0" presId="urn:microsoft.com/office/officeart/2005/8/layout/list1"/>
    <dgm:cxn modelId="{8E220DEE-9013-4A7D-8C5C-CAF6900480F0}" type="presParOf" srcId="{FFA39E83-6E31-4033-BC80-299303585EE0}" destId="{437A16E6-9F9F-4F70-BC33-B45BCEE905BC}" srcOrd="1" destOrd="0" presId="urn:microsoft.com/office/officeart/2005/8/layout/list1"/>
    <dgm:cxn modelId="{9DB8D0A9-DB5E-4651-9015-B60A737FC5D9}" type="presParOf" srcId="{66C6072E-EAFA-40A4-9666-6A5BD9226E73}" destId="{68DB13BB-4831-4595-8BB1-A0D3088FEA33}" srcOrd="9" destOrd="0" presId="urn:microsoft.com/office/officeart/2005/8/layout/list1"/>
    <dgm:cxn modelId="{571BF029-B012-4AA8-A3D5-54DE0792F1C1}" type="presParOf" srcId="{66C6072E-EAFA-40A4-9666-6A5BD9226E73}" destId="{D965B1B7-7894-4057-8B72-7020A88963AC}" srcOrd="10" destOrd="0" presId="urn:microsoft.com/office/officeart/2005/8/layout/list1"/>
    <dgm:cxn modelId="{2CF27DAA-9629-44A0-B733-DB209748479E}" type="presParOf" srcId="{66C6072E-EAFA-40A4-9666-6A5BD9226E73}" destId="{FA236D7E-5213-4497-AB5C-1FAF9A731461}" srcOrd="11" destOrd="0" presId="urn:microsoft.com/office/officeart/2005/8/layout/list1"/>
    <dgm:cxn modelId="{D037BF4B-86F8-4149-AB30-B7796D64EBE4}" type="presParOf" srcId="{66C6072E-EAFA-40A4-9666-6A5BD9226E73}" destId="{A109D415-ACD4-4257-9AC4-294F511E63F7}" srcOrd="12" destOrd="0" presId="urn:microsoft.com/office/officeart/2005/8/layout/list1"/>
    <dgm:cxn modelId="{8945D04E-19ED-41D3-BE38-3608919ACED4}" type="presParOf" srcId="{A109D415-ACD4-4257-9AC4-294F511E63F7}" destId="{3D9AB049-36FF-4C00-A821-00A6780ED620}" srcOrd="0" destOrd="0" presId="urn:microsoft.com/office/officeart/2005/8/layout/list1"/>
    <dgm:cxn modelId="{7411A845-CFCC-454A-97F0-D7D5A5BC05E9}" type="presParOf" srcId="{A109D415-ACD4-4257-9AC4-294F511E63F7}" destId="{03E9823F-CC22-453F-A0ED-E44531248454}" srcOrd="1" destOrd="0" presId="urn:microsoft.com/office/officeart/2005/8/layout/list1"/>
    <dgm:cxn modelId="{90095C6C-2409-4F4D-917F-E244E030B782}" type="presParOf" srcId="{66C6072E-EAFA-40A4-9666-6A5BD9226E73}" destId="{72E7083B-B1E1-4ADD-8FAD-75DCB3AD77AD}" srcOrd="13" destOrd="0" presId="urn:microsoft.com/office/officeart/2005/8/layout/list1"/>
    <dgm:cxn modelId="{245DB918-3764-47D4-B245-B3904392E2F6}" type="presParOf" srcId="{66C6072E-EAFA-40A4-9666-6A5BD9226E73}" destId="{23734018-6D38-4A6A-8D9D-5F5B1A618520}" srcOrd="14" destOrd="0" presId="urn:microsoft.com/office/officeart/2005/8/layout/list1"/>
    <dgm:cxn modelId="{C0470B33-3DFA-44A1-AF95-4708A0C1050D}" type="presParOf" srcId="{66C6072E-EAFA-40A4-9666-6A5BD9226E73}" destId="{95330198-66E8-4960-8548-F9070141C292}" srcOrd="15" destOrd="0" presId="urn:microsoft.com/office/officeart/2005/8/layout/list1"/>
    <dgm:cxn modelId="{59E26F0D-6E8D-4CF4-96B8-1643BAD08C9D}" type="presParOf" srcId="{66C6072E-EAFA-40A4-9666-6A5BD9226E73}" destId="{FDCD93A2-6D68-4D2D-9AB8-ACA37625A25F}" srcOrd="16" destOrd="0" presId="urn:microsoft.com/office/officeart/2005/8/layout/list1"/>
    <dgm:cxn modelId="{8CCEC537-7EBA-42A5-A344-54EC93E5E8D2}" type="presParOf" srcId="{FDCD93A2-6D68-4D2D-9AB8-ACA37625A25F}" destId="{653269D8-2554-4D4D-B8F9-B4891B568711}" srcOrd="0" destOrd="0" presId="urn:microsoft.com/office/officeart/2005/8/layout/list1"/>
    <dgm:cxn modelId="{587D3996-8389-48BE-BC1A-FF77C0651C61}" type="presParOf" srcId="{FDCD93A2-6D68-4D2D-9AB8-ACA37625A25F}" destId="{17D90311-B1DD-4731-A186-C0F30C76B4D5}" srcOrd="1" destOrd="0" presId="urn:microsoft.com/office/officeart/2005/8/layout/list1"/>
    <dgm:cxn modelId="{15FD03ED-7D1E-4B03-8D03-2BEDE1259A3E}" type="presParOf" srcId="{66C6072E-EAFA-40A4-9666-6A5BD9226E73}" destId="{B10E9FA2-4581-4EA9-B225-A6B150DBB69C}" srcOrd="17" destOrd="0" presId="urn:microsoft.com/office/officeart/2005/8/layout/list1"/>
    <dgm:cxn modelId="{0A3F72E0-0D24-4080-8C43-AAAC608A3300}" type="presParOf" srcId="{66C6072E-EAFA-40A4-9666-6A5BD9226E73}" destId="{4606ABA5-9E96-4675-8373-B6BEE5D9A0F4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78012EB-3067-42C7-808D-FCCDBFCA5F5E}" type="doc">
      <dgm:prSet loTypeId="urn:microsoft.com/office/officeart/2005/8/layout/vProcess5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A49451A9-3917-40F6-A40C-EE0D1417B8C3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4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САЛА</a:t>
          </a:r>
        </a:p>
      </dgm:t>
    </dgm:pt>
    <dgm:pt modelId="{A24E01C6-2A44-4629-B622-7E9E8CA0BFF4}" type="parTrans" cxnId="{46F38BEF-DA25-46F2-85F5-E472E02724C0}">
      <dgm:prSet/>
      <dgm:spPr/>
      <dgm:t>
        <a:bodyPr/>
        <a:lstStyle/>
        <a:p>
          <a:endParaRPr lang="ru-RU" sz="1100" b="1">
            <a:solidFill>
              <a:schemeClr val="accent5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60E8D2C-06F7-4215-87AC-241494787B95}" type="sibTrans" cxnId="{46F38BEF-DA25-46F2-85F5-E472E02724C0}">
      <dgm:prSet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endParaRPr lang="ru-RU" sz="1100" b="1">
            <a:solidFill>
              <a:schemeClr val="accent5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824FA1E-153E-4FC6-98B4-FD4928595D97}">
      <dgm:prSet phldrT="[Текст]"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r>
            <a:rPr lang="ru-RU" sz="14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ЖҚҚ </a:t>
          </a:r>
        </a:p>
      </dgm:t>
    </dgm:pt>
    <dgm:pt modelId="{B06FD861-382B-4F1D-B52F-DE88CD3E811C}" type="parTrans" cxnId="{37957AD6-DDD7-4A62-A4B0-4E906B7AA447}">
      <dgm:prSet/>
      <dgm:spPr/>
      <dgm:t>
        <a:bodyPr/>
        <a:lstStyle/>
        <a:p>
          <a:endParaRPr lang="ru-RU" sz="1100" b="1">
            <a:solidFill>
              <a:schemeClr val="accent5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1EB94BB-4A26-4DFF-8448-64F5F04715E8}" type="sibTrans" cxnId="{37957AD6-DDD7-4A62-A4B0-4E906B7AA447}">
      <dgm:prSet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endParaRPr lang="ru-RU" sz="1100" b="1">
            <a:solidFill>
              <a:schemeClr val="accent5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4140575-7920-451B-8F93-A38B6FD525E9}">
      <dgm:prSet phldrT="[Текст]"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r>
            <a:rPr lang="ru-RU" sz="14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КӘСІП</a:t>
          </a:r>
        </a:p>
      </dgm:t>
    </dgm:pt>
    <dgm:pt modelId="{7AB69E44-1CC3-4066-B5BF-E1CCEA09B26D}" type="parTrans" cxnId="{F51BED48-F88B-442C-AEB0-926D92AC9050}">
      <dgm:prSet/>
      <dgm:spPr/>
      <dgm:t>
        <a:bodyPr/>
        <a:lstStyle/>
        <a:p>
          <a:endParaRPr lang="ru-RU" sz="2400" b="1">
            <a:solidFill>
              <a:schemeClr val="accent5">
                <a:lumMod val="50000"/>
              </a:schemeClr>
            </a:solidFill>
          </a:endParaRPr>
        </a:p>
      </dgm:t>
    </dgm:pt>
    <dgm:pt modelId="{941DC890-E816-40C7-BFFF-0C1C92611138}" type="sibTrans" cxnId="{F51BED48-F88B-442C-AEB0-926D92AC9050}">
      <dgm:prSet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endParaRPr lang="ru-RU" sz="2400" b="1">
            <a:solidFill>
              <a:schemeClr val="accent5">
                <a:lumMod val="50000"/>
              </a:schemeClr>
            </a:solidFill>
          </a:endParaRPr>
        </a:p>
      </dgm:t>
    </dgm:pt>
    <dgm:pt modelId="{1547B310-FA58-41D1-81A2-5408A7D1E7B8}">
      <dgm:prSet phldrT="[Текст]"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r>
            <a:rPr lang="ru-RU" sz="14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НОРМА ЖӘНЕ МЕРЗІМ</a:t>
          </a:r>
        </a:p>
      </dgm:t>
    </dgm:pt>
    <dgm:pt modelId="{39B22460-E334-47D6-9C12-8063821AC94E}" type="parTrans" cxnId="{9519A5D3-4473-4B48-9848-35E05DC9CC76}">
      <dgm:prSet/>
      <dgm:spPr/>
      <dgm:t>
        <a:bodyPr/>
        <a:lstStyle/>
        <a:p>
          <a:endParaRPr lang="ru-RU" sz="2400" b="1">
            <a:solidFill>
              <a:schemeClr val="accent5">
                <a:lumMod val="50000"/>
              </a:schemeClr>
            </a:solidFill>
          </a:endParaRPr>
        </a:p>
      </dgm:t>
    </dgm:pt>
    <dgm:pt modelId="{9E94E596-5436-40C5-86E0-C855DFC8F0FE}" type="sibTrans" cxnId="{9519A5D3-4473-4B48-9848-35E05DC9CC76}">
      <dgm:prSet/>
      <dgm:spPr/>
      <dgm:t>
        <a:bodyPr/>
        <a:lstStyle/>
        <a:p>
          <a:endParaRPr lang="ru-RU" sz="2400" b="1">
            <a:solidFill>
              <a:schemeClr val="accent5">
                <a:lumMod val="50000"/>
              </a:schemeClr>
            </a:solidFill>
          </a:endParaRPr>
        </a:p>
      </dgm:t>
    </dgm:pt>
    <dgm:pt modelId="{C5644116-A587-4F6A-B0FF-191A1363A22D}" type="pres">
      <dgm:prSet presAssocID="{C78012EB-3067-42C7-808D-FCCDBFCA5F5E}" presName="outerComposite" presStyleCnt="0">
        <dgm:presLayoutVars>
          <dgm:chMax val="5"/>
          <dgm:dir/>
          <dgm:resizeHandles val="exact"/>
        </dgm:presLayoutVars>
      </dgm:prSet>
      <dgm:spPr/>
    </dgm:pt>
    <dgm:pt modelId="{2E5AB477-5D7C-447B-9020-DB91CC575479}" type="pres">
      <dgm:prSet presAssocID="{C78012EB-3067-42C7-808D-FCCDBFCA5F5E}" presName="dummyMaxCanvas" presStyleCnt="0">
        <dgm:presLayoutVars/>
      </dgm:prSet>
      <dgm:spPr/>
    </dgm:pt>
    <dgm:pt modelId="{71F1AEC7-D75C-4AF1-AEDA-0DE490F9831F}" type="pres">
      <dgm:prSet presAssocID="{C78012EB-3067-42C7-808D-FCCDBFCA5F5E}" presName="FourNodes_1" presStyleLbl="node1" presStyleIdx="0" presStyleCnt="4" custLinFactNeighborX="-4342" custLinFactNeighborY="66">
        <dgm:presLayoutVars>
          <dgm:bulletEnabled val="1"/>
        </dgm:presLayoutVars>
      </dgm:prSet>
      <dgm:spPr/>
    </dgm:pt>
    <dgm:pt modelId="{59720FFC-2C16-4101-995E-44982E42F21D}" type="pres">
      <dgm:prSet presAssocID="{C78012EB-3067-42C7-808D-FCCDBFCA5F5E}" presName="FourNodes_2" presStyleLbl="node1" presStyleIdx="1" presStyleCnt="4">
        <dgm:presLayoutVars>
          <dgm:bulletEnabled val="1"/>
        </dgm:presLayoutVars>
      </dgm:prSet>
      <dgm:spPr/>
    </dgm:pt>
    <dgm:pt modelId="{F06035E9-394F-49C2-BA79-1B54FF412F36}" type="pres">
      <dgm:prSet presAssocID="{C78012EB-3067-42C7-808D-FCCDBFCA5F5E}" presName="FourNodes_3" presStyleLbl="node1" presStyleIdx="2" presStyleCnt="4">
        <dgm:presLayoutVars>
          <dgm:bulletEnabled val="1"/>
        </dgm:presLayoutVars>
      </dgm:prSet>
      <dgm:spPr/>
    </dgm:pt>
    <dgm:pt modelId="{0B3E64BA-49C5-4D99-9307-3369393A43E0}" type="pres">
      <dgm:prSet presAssocID="{C78012EB-3067-42C7-808D-FCCDBFCA5F5E}" presName="FourNodes_4" presStyleLbl="node1" presStyleIdx="3" presStyleCnt="4">
        <dgm:presLayoutVars>
          <dgm:bulletEnabled val="1"/>
        </dgm:presLayoutVars>
      </dgm:prSet>
      <dgm:spPr/>
    </dgm:pt>
    <dgm:pt modelId="{51B3314C-B657-44E2-B979-6DAE3A849E7D}" type="pres">
      <dgm:prSet presAssocID="{C78012EB-3067-42C7-808D-FCCDBFCA5F5E}" presName="FourConn_1-2" presStyleLbl="fgAccFollowNode1" presStyleIdx="0" presStyleCnt="3">
        <dgm:presLayoutVars>
          <dgm:bulletEnabled val="1"/>
        </dgm:presLayoutVars>
      </dgm:prSet>
      <dgm:spPr/>
    </dgm:pt>
    <dgm:pt modelId="{EB0F5A76-750B-4579-A800-D273C407E351}" type="pres">
      <dgm:prSet presAssocID="{C78012EB-3067-42C7-808D-FCCDBFCA5F5E}" presName="FourConn_2-3" presStyleLbl="fgAccFollowNode1" presStyleIdx="1" presStyleCnt="3">
        <dgm:presLayoutVars>
          <dgm:bulletEnabled val="1"/>
        </dgm:presLayoutVars>
      </dgm:prSet>
      <dgm:spPr/>
    </dgm:pt>
    <dgm:pt modelId="{A1E1E3D8-BEB2-46B1-939E-0AF95497BDE4}" type="pres">
      <dgm:prSet presAssocID="{C78012EB-3067-42C7-808D-FCCDBFCA5F5E}" presName="FourConn_3-4" presStyleLbl="fgAccFollowNode1" presStyleIdx="2" presStyleCnt="3">
        <dgm:presLayoutVars>
          <dgm:bulletEnabled val="1"/>
        </dgm:presLayoutVars>
      </dgm:prSet>
      <dgm:spPr/>
    </dgm:pt>
    <dgm:pt modelId="{6B87476E-57B0-4BA5-B931-7F96A1FB0B16}" type="pres">
      <dgm:prSet presAssocID="{C78012EB-3067-42C7-808D-FCCDBFCA5F5E}" presName="FourNodes_1_text" presStyleLbl="node1" presStyleIdx="3" presStyleCnt="4">
        <dgm:presLayoutVars>
          <dgm:bulletEnabled val="1"/>
        </dgm:presLayoutVars>
      </dgm:prSet>
      <dgm:spPr/>
    </dgm:pt>
    <dgm:pt modelId="{95ECB779-1225-4E1B-8488-D80DD40EE090}" type="pres">
      <dgm:prSet presAssocID="{C78012EB-3067-42C7-808D-FCCDBFCA5F5E}" presName="FourNodes_2_text" presStyleLbl="node1" presStyleIdx="3" presStyleCnt="4">
        <dgm:presLayoutVars>
          <dgm:bulletEnabled val="1"/>
        </dgm:presLayoutVars>
      </dgm:prSet>
      <dgm:spPr/>
    </dgm:pt>
    <dgm:pt modelId="{345FB2D6-0E5E-4DAE-A38A-30BCC529722A}" type="pres">
      <dgm:prSet presAssocID="{C78012EB-3067-42C7-808D-FCCDBFCA5F5E}" presName="FourNodes_3_text" presStyleLbl="node1" presStyleIdx="3" presStyleCnt="4">
        <dgm:presLayoutVars>
          <dgm:bulletEnabled val="1"/>
        </dgm:presLayoutVars>
      </dgm:prSet>
      <dgm:spPr/>
    </dgm:pt>
    <dgm:pt modelId="{BB439CD3-838C-405D-B8F9-0AF45574503B}" type="pres">
      <dgm:prSet presAssocID="{C78012EB-3067-42C7-808D-FCCDBFCA5F5E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478C1105-5C8B-4183-A5B6-21C92453FB80}" type="presOf" srcId="{71EB94BB-4A26-4DFF-8448-64F5F04715E8}" destId="{A1E1E3D8-BEB2-46B1-939E-0AF95497BDE4}" srcOrd="0" destOrd="0" presId="urn:microsoft.com/office/officeart/2005/8/layout/vProcess5"/>
    <dgm:cxn modelId="{FFC71C0E-8123-4293-A43F-19CA52D0F2C8}" type="presOf" srcId="{1547B310-FA58-41D1-81A2-5408A7D1E7B8}" destId="{BB439CD3-838C-405D-B8F9-0AF45574503B}" srcOrd="1" destOrd="0" presId="urn:microsoft.com/office/officeart/2005/8/layout/vProcess5"/>
    <dgm:cxn modelId="{317A9A19-4ECE-4664-B6ED-FAD3EBB70A77}" type="presOf" srcId="{A49451A9-3917-40F6-A40C-EE0D1417B8C3}" destId="{6B87476E-57B0-4BA5-B931-7F96A1FB0B16}" srcOrd="1" destOrd="0" presId="urn:microsoft.com/office/officeart/2005/8/layout/vProcess5"/>
    <dgm:cxn modelId="{AB8EEE22-2E0C-44C7-91E1-EAF2E3A14AC8}" type="presOf" srcId="{0824FA1E-153E-4FC6-98B4-FD4928595D97}" destId="{345FB2D6-0E5E-4DAE-A38A-30BCC529722A}" srcOrd="1" destOrd="0" presId="urn:microsoft.com/office/officeart/2005/8/layout/vProcess5"/>
    <dgm:cxn modelId="{F9F2DF33-DCF9-4830-AF91-50A30FE1E88B}" type="presOf" srcId="{0824FA1E-153E-4FC6-98B4-FD4928595D97}" destId="{F06035E9-394F-49C2-BA79-1B54FF412F36}" srcOrd="0" destOrd="0" presId="urn:microsoft.com/office/officeart/2005/8/layout/vProcess5"/>
    <dgm:cxn modelId="{9CF5F53A-09C5-49AF-AB52-5A256220BA79}" type="presOf" srcId="{14140575-7920-451B-8F93-A38B6FD525E9}" destId="{59720FFC-2C16-4101-995E-44982E42F21D}" srcOrd="0" destOrd="0" presId="urn:microsoft.com/office/officeart/2005/8/layout/vProcess5"/>
    <dgm:cxn modelId="{FF6F0F65-7AD8-4EE7-900D-1AFB782660DB}" type="presOf" srcId="{941DC890-E816-40C7-BFFF-0C1C92611138}" destId="{EB0F5A76-750B-4579-A800-D273C407E351}" srcOrd="0" destOrd="0" presId="urn:microsoft.com/office/officeart/2005/8/layout/vProcess5"/>
    <dgm:cxn modelId="{E05EE848-8FEA-4C60-9253-2D321C369BE1}" type="presOf" srcId="{960E8D2C-06F7-4215-87AC-241494787B95}" destId="{51B3314C-B657-44E2-B979-6DAE3A849E7D}" srcOrd="0" destOrd="0" presId="urn:microsoft.com/office/officeart/2005/8/layout/vProcess5"/>
    <dgm:cxn modelId="{F51BED48-F88B-442C-AEB0-926D92AC9050}" srcId="{C78012EB-3067-42C7-808D-FCCDBFCA5F5E}" destId="{14140575-7920-451B-8F93-A38B6FD525E9}" srcOrd="1" destOrd="0" parTransId="{7AB69E44-1CC3-4066-B5BF-E1CCEA09B26D}" sibTransId="{941DC890-E816-40C7-BFFF-0C1C92611138}"/>
    <dgm:cxn modelId="{E30F9950-CEC2-43FF-8B74-22AA8BF60951}" type="presOf" srcId="{1547B310-FA58-41D1-81A2-5408A7D1E7B8}" destId="{0B3E64BA-49C5-4D99-9307-3369393A43E0}" srcOrd="0" destOrd="0" presId="urn:microsoft.com/office/officeart/2005/8/layout/vProcess5"/>
    <dgm:cxn modelId="{0AB8E587-FE58-4C4E-90B7-615485F105D2}" type="presOf" srcId="{C78012EB-3067-42C7-808D-FCCDBFCA5F5E}" destId="{C5644116-A587-4F6A-B0FF-191A1363A22D}" srcOrd="0" destOrd="0" presId="urn:microsoft.com/office/officeart/2005/8/layout/vProcess5"/>
    <dgm:cxn modelId="{39D1A6C3-21B9-4934-A383-6CE1F9DBD28A}" type="presOf" srcId="{A49451A9-3917-40F6-A40C-EE0D1417B8C3}" destId="{71F1AEC7-D75C-4AF1-AEDA-0DE490F9831F}" srcOrd="0" destOrd="0" presId="urn:microsoft.com/office/officeart/2005/8/layout/vProcess5"/>
    <dgm:cxn modelId="{9519A5D3-4473-4B48-9848-35E05DC9CC76}" srcId="{C78012EB-3067-42C7-808D-FCCDBFCA5F5E}" destId="{1547B310-FA58-41D1-81A2-5408A7D1E7B8}" srcOrd="3" destOrd="0" parTransId="{39B22460-E334-47D6-9C12-8063821AC94E}" sibTransId="{9E94E596-5436-40C5-86E0-C855DFC8F0FE}"/>
    <dgm:cxn modelId="{37957AD6-DDD7-4A62-A4B0-4E906B7AA447}" srcId="{C78012EB-3067-42C7-808D-FCCDBFCA5F5E}" destId="{0824FA1E-153E-4FC6-98B4-FD4928595D97}" srcOrd="2" destOrd="0" parTransId="{B06FD861-382B-4F1D-B52F-DE88CD3E811C}" sibTransId="{71EB94BB-4A26-4DFF-8448-64F5F04715E8}"/>
    <dgm:cxn modelId="{8938BADB-2AAB-4A5F-ADE7-2BEE94279859}" type="presOf" srcId="{14140575-7920-451B-8F93-A38B6FD525E9}" destId="{95ECB779-1225-4E1B-8488-D80DD40EE090}" srcOrd="1" destOrd="0" presId="urn:microsoft.com/office/officeart/2005/8/layout/vProcess5"/>
    <dgm:cxn modelId="{46F38BEF-DA25-46F2-85F5-E472E02724C0}" srcId="{C78012EB-3067-42C7-808D-FCCDBFCA5F5E}" destId="{A49451A9-3917-40F6-A40C-EE0D1417B8C3}" srcOrd="0" destOrd="0" parTransId="{A24E01C6-2A44-4629-B622-7E9E8CA0BFF4}" sibTransId="{960E8D2C-06F7-4215-87AC-241494787B95}"/>
    <dgm:cxn modelId="{49E7899A-E374-4AEE-BD63-27A8B688BA0E}" type="presParOf" srcId="{C5644116-A587-4F6A-B0FF-191A1363A22D}" destId="{2E5AB477-5D7C-447B-9020-DB91CC575479}" srcOrd="0" destOrd="0" presId="urn:microsoft.com/office/officeart/2005/8/layout/vProcess5"/>
    <dgm:cxn modelId="{C23CED03-AA33-4483-80A0-49F8CAE089D8}" type="presParOf" srcId="{C5644116-A587-4F6A-B0FF-191A1363A22D}" destId="{71F1AEC7-D75C-4AF1-AEDA-0DE490F9831F}" srcOrd="1" destOrd="0" presId="urn:microsoft.com/office/officeart/2005/8/layout/vProcess5"/>
    <dgm:cxn modelId="{0B1CA4E7-68C1-4C98-905F-9BFAF91B9AE6}" type="presParOf" srcId="{C5644116-A587-4F6A-B0FF-191A1363A22D}" destId="{59720FFC-2C16-4101-995E-44982E42F21D}" srcOrd="2" destOrd="0" presId="urn:microsoft.com/office/officeart/2005/8/layout/vProcess5"/>
    <dgm:cxn modelId="{71E438D1-4659-4314-97C8-7162F106CED8}" type="presParOf" srcId="{C5644116-A587-4F6A-B0FF-191A1363A22D}" destId="{F06035E9-394F-49C2-BA79-1B54FF412F36}" srcOrd="3" destOrd="0" presId="urn:microsoft.com/office/officeart/2005/8/layout/vProcess5"/>
    <dgm:cxn modelId="{FD1D0AAA-5C0F-46E3-B62C-5AB4AA6CBA9C}" type="presParOf" srcId="{C5644116-A587-4F6A-B0FF-191A1363A22D}" destId="{0B3E64BA-49C5-4D99-9307-3369393A43E0}" srcOrd="4" destOrd="0" presId="urn:microsoft.com/office/officeart/2005/8/layout/vProcess5"/>
    <dgm:cxn modelId="{BE51C05F-1F70-47A2-869C-3995DF5116D8}" type="presParOf" srcId="{C5644116-A587-4F6A-B0FF-191A1363A22D}" destId="{51B3314C-B657-44E2-B979-6DAE3A849E7D}" srcOrd="5" destOrd="0" presId="urn:microsoft.com/office/officeart/2005/8/layout/vProcess5"/>
    <dgm:cxn modelId="{DC2AA84D-1A66-46C1-ACC0-25F8895602FB}" type="presParOf" srcId="{C5644116-A587-4F6A-B0FF-191A1363A22D}" destId="{EB0F5A76-750B-4579-A800-D273C407E351}" srcOrd="6" destOrd="0" presId="urn:microsoft.com/office/officeart/2005/8/layout/vProcess5"/>
    <dgm:cxn modelId="{BB83094D-B942-462B-9CF5-466A8D401571}" type="presParOf" srcId="{C5644116-A587-4F6A-B0FF-191A1363A22D}" destId="{A1E1E3D8-BEB2-46B1-939E-0AF95497BDE4}" srcOrd="7" destOrd="0" presId="urn:microsoft.com/office/officeart/2005/8/layout/vProcess5"/>
    <dgm:cxn modelId="{A97260B8-A030-4910-BA85-3248F810A811}" type="presParOf" srcId="{C5644116-A587-4F6A-B0FF-191A1363A22D}" destId="{6B87476E-57B0-4BA5-B931-7F96A1FB0B16}" srcOrd="8" destOrd="0" presId="urn:microsoft.com/office/officeart/2005/8/layout/vProcess5"/>
    <dgm:cxn modelId="{25A3F73A-0542-46B9-A624-1CD4F13ED3DF}" type="presParOf" srcId="{C5644116-A587-4F6A-B0FF-191A1363A22D}" destId="{95ECB779-1225-4E1B-8488-D80DD40EE090}" srcOrd="9" destOrd="0" presId="urn:microsoft.com/office/officeart/2005/8/layout/vProcess5"/>
    <dgm:cxn modelId="{673FBDA1-D0DE-4500-AF61-61B660842A63}" type="presParOf" srcId="{C5644116-A587-4F6A-B0FF-191A1363A22D}" destId="{345FB2D6-0E5E-4DAE-A38A-30BCC529722A}" srcOrd="10" destOrd="0" presId="urn:microsoft.com/office/officeart/2005/8/layout/vProcess5"/>
    <dgm:cxn modelId="{55BE3DA8-A367-47DA-B4A9-28F0BC05479D}" type="presParOf" srcId="{C5644116-A587-4F6A-B0FF-191A1363A22D}" destId="{BB439CD3-838C-405D-B8F9-0AF45574503B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78012EB-3067-42C7-808D-FCCDBFCA5F5E}" type="doc">
      <dgm:prSet loTypeId="urn:microsoft.com/office/officeart/2005/8/layout/vProcess5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A49451A9-3917-40F6-A40C-EE0D1417B8C3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200" b="1" dirty="0" err="1">
              <a:latin typeface="Arial" panose="020B0604020202020204" pitchFamily="34" charset="0"/>
              <a:cs typeface="Arial" panose="020B0604020202020204" pitchFamily="34" charset="0"/>
            </a:rPr>
            <a:t>Экономикалық</a:t>
          </a:r>
          <a:r>
            <a:rPr lang="ru-RU" sz="1200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b="1" dirty="0" err="1">
              <a:latin typeface="Arial" panose="020B0604020202020204" pitchFamily="34" charset="0"/>
              <a:cs typeface="Arial" panose="020B0604020202020204" pitchFamily="34" charset="0"/>
            </a:rPr>
            <a:t>қызмет</a:t>
          </a:r>
          <a:r>
            <a:rPr lang="ru-RU" sz="1200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b="1" dirty="0" err="1">
              <a:latin typeface="Arial" panose="020B0604020202020204" pitchFamily="34" charset="0"/>
              <a:cs typeface="Arial" panose="020B0604020202020204" pitchFamily="34" charset="0"/>
            </a:rPr>
            <a:t>түрі</a:t>
          </a:r>
          <a:endParaRPr lang="ru-KZ" sz="1200" b="1" dirty="0">
            <a:latin typeface="Arial" panose="020B0604020202020204" pitchFamily="34" charset="0"/>
            <a:cs typeface="Arial" panose="020B0604020202020204" pitchFamily="34" charset="0"/>
          </a:endParaRPr>
        </a:p>
        <a:p>
          <a:endParaRPr lang="ru-RU" sz="12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24E01C6-2A44-4629-B622-7E9E8CA0BFF4}" type="parTrans" cxnId="{46F38BEF-DA25-46F2-85F5-E472E02724C0}">
      <dgm:prSet/>
      <dgm:spPr/>
      <dgm:t>
        <a:bodyPr/>
        <a:lstStyle/>
        <a:p>
          <a:endParaRPr lang="ru-RU" sz="12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60E8D2C-06F7-4215-87AC-241494787B95}" type="sibTrans" cxnId="{46F38BEF-DA25-46F2-85F5-E472E02724C0}">
      <dgm:prSet custT="1"/>
      <dgm:spPr>
        <a:ln>
          <a:solidFill>
            <a:srgbClr val="002060"/>
          </a:solidFill>
        </a:ln>
      </dgm:spPr>
      <dgm:t>
        <a:bodyPr/>
        <a:lstStyle/>
        <a:p>
          <a:endParaRPr lang="ru-RU" sz="12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824FA1E-153E-4FC6-98B4-FD4928595D97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kk-KZ" sz="1200" b="1" spc="-10" dirty="0">
              <a:latin typeface="Arial" panose="020B0604020202020204" pitchFamily="34" charset="0"/>
              <a:cs typeface="Arial" panose="020B0604020202020204" pitchFamily="34" charset="0"/>
            </a:rPr>
            <a:t>Сақтандыру</a:t>
          </a:r>
          <a:r>
            <a:rPr lang="kk-KZ" sz="1200" b="1" spc="-5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kk-KZ" sz="1200" b="1" spc="-5" dirty="0">
              <a:latin typeface="Arial" panose="020B0604020202020204" pitchFamily="34" charset="0"/>
              <a:cs typeface="Arial" panose="020B0604020202020204" pitchFamily="34" charset="0"/>
            </a:rPr>
            <a:t>тарифі</a:t>
          </a:r>
          <a:endParaRPr lang="ru-RU" sz="12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06FD861-382B-4F1D-B52F-DE88CD3E811C}" type="parTrans" cxnId="{37957AD6-DDD7-4A62-A4B0-4E906B7AA447}">
      <dgm:prSet/>
      <dgm:spPr/>
      <dgm:t>
        <a:bodyPr/>
        <a:lstStyle/>
        <a:p>
          <a:endParaRPr lang="ru-RU" sz="12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1EB94BB-4A26-4DFF-8448-64F5F04715E8}" type="sibTrans" cxnId="{37957AD6-DDD7-4A62-A4B0-4E906B7AA447}">
      <dgm:prSet custT="1"/>
      <dgm:spPr>
        <a:ln>
          <a:solidFill>
            <a:srgbClr val="002060"/>
          </a:solidFill>
        </a:ln>
      </dgm:spPr>
      <dgm:t>
        <a:bodyPr/>
        <a:lstStyle/>
        <a:p>
          <a:endParaRPr lang="ru-RU" sz="12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4140575-7920-451B-8F93-A38B6FD525E9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200" b="1" dirty="0" err="1">
              <a:latin typeface="Arial" panose="020B0604020202020204" pitchFamily="34" charset="0"/>
              <a:cs typeface="Arial" panose="020B0604020202020204" pitchFamily="34" charset="0"/>
            </a:rPr>
            <a:t>Кәсіптік</a:t>
          </a:r>
          <a:r>
            <a:rPr lang="ru-RU" sz="1200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b="1" dirty="0" err="1">
              <a:latin typeface="Arial" panose="020B0604020202020204" pitchFamily="34" charset="0"/>
              <a:cs typeface="Arial" panose="020B0604020202020204" pitchFamily="34" charset="0"/>
            </a:rPr>
            <a:t>тәуекел</a:t>
          </a:r>
          <a:r>
            <a:rPr lang="ru-RU" sz="1200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b="1" dirty="0" err="1">
              <a:latin typeface="Arial" panose="020B0604020202020204" pitchFamily="34" charset="0"/>
              <a:cs typeface="Arial" panose="020B0604020202020204" pitchFamily="34" charset="0"/>
            </a:rPr>
            <a:t>сыныбы</a:t>
          </a:r>
          <a:endParaRPr lang="ru-KZ" sz="1200" b="1" dirty="0">
            <a:latin typeface="Arial" panose="020B0604020202020204" pitchFamily="34" charset="0"/>
            <a:cs typeface="Arial" panose="020B0604020202020204" pitchFamily="34" charset="0"/>
          </a:endParaRPr>
        </a:p>
        <a:p>
          <a:endParaRPr lang="ru-RU" sz="12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AB69E44-1CC3-4066-B5BF-E1CCEA09B26D}" type="parTrans" cxnId="{F51BED48-F88B-442C-AEB0-926D92AC9050}">
      <dgm:prSet/>
      <dgm:spPr/>
      <dgm:t>
        <a:bodyPr/>
        <a:lstStyle/>
        <a:p>
          <a:endParaRPr lang="ru-RU" sz="2800" b="1"/>
        </a:p>
      </dgm:t>
    </dgm:pt>
    <dgm:pt modelId="{941DC890-E816-40C7-BFFF-0C1C92611138}" type="sibTrans" cxnId="{F51BED48-F88B-442C-AEB0-926D92AC9050}">
      <dgm:prSet custT="1"/>
      <dgm:spPr>
        <a:ln>
          <a:solidFill>
            <a:srgbClr val="002060"/>
          </a:solidFill>
        </a:ln>
      </dgm:spPr>
      <dgm:t>
        <a:bodyPr/>
        <a:lstStyle/>
        <a:p>
          <a:endParaRPr lang="ru-RU" sz="2800" b="1"/>
        </a:p>
      </dgm:t>
    </dgm:pt>
    <dgm:pt modelId="{1547B310-FA58-41D1-81A2-5408A7D1E7B8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100" b="1" dirty="0" err="1">
              <a:latin typeface="Arial" panose="020B0604020202020204" pitchFamily="34" charset="0"/>
              <a:cs typeface="Arial" panose="020B0604020202020204" pitchFamily="34" charset="0"/>
            </a:rPr>
            <a:t>Жазатайым</a:t>
          </a:r>
          <a:r>
            <a:rPr lang="ru-RU" sz="1100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dirty="0" err="1">
              <a:latin typeface="Arial" panose="020B0604020202020204" pitchFamily="34" charset="0"/>
              <a:cs typeface="Arial" panose="020B0604020202020204" pitchFamily="34" charset="0"/>
            </a:rPr>
            <a:t>оқиғалардың</a:t>
          </a:r>
          <a:r>
            <a:rPr lang="ru-RU" sz="1100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dirty="0" err="1">
              <a:latin typeface="Arial" panose="020B0604020202020204" pitchFamily="34" charset="0"/>
              <a:cs typeface="Arial" panose="020B0604020202020204" pitchFamily="34" charset="0"/>
            </a:rPr>
            <a:t>салдарынан</a:t>
          </a:r>
          <a:r>
            <a:rPr lang="ru-RU" sz="1100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dirty="0" err="1">
              <a:latin typeface="Arial" panose="020B0604020202020204" pitchFamily="34" charset="0"/>
              <a:cs typeface="Arial" panose="020B0604020202020204" pitchFamily="34" charset="0"/>
            </a:rPr>
            <a:t>зардап</a:t>
          </a:r>
          <a:r>
            <a:rPr lang="ru-RU" sz="1100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dirty="0" err="1">
              <a:latin typeface="Arial" panose="020B0604020202020204" pitchFamily="34" charset="0"/>
              <a:cs typeface="Arial" panose="020B0604020202020204" pitchFamily="34" charset="0"/>
            </a:rPr>
            <a:t>шеккендердің</a:t>
          </a:r>
          <a:r>
            <a:rPr lang="ru-RU" sz="1100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dirty="0" err="1">
              <a:latin typeface="Arial" panose="020B0604020202020204" pitchFamily="34" charset="0"/>
              <a:cs typeface="Arial" panose="020B0604020202020204" pitchFamily="34" charset="0"/>
            </a:rPr>
            <a:t>санын</a:t>
          </a:r>
          <a:r>
            <a:rPr lang="ru-RU" sz="1100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dirty="0" err="1">
              <a:latin typeface="Arial" panose="020B0604020202020204" pitchFamily="34" charset="0"/>
              <a:cs typeface="Arial" panose="020B0604020202020204" pitchFamily="34" charset="0"/>
            </a:rPr>
            <a:t>ескере</a:t>
          </a:r>
          <a:r>
            <a:rPr lang="ru-RU" sz="1100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dirty="0" err="1">
              <a:latin typeface="Arial" panose="020B0604020202020204" pitchFamily="34" charset="0"/>
              <a:cs typeface="Arial" panose="020B0604020202020204" pitchFamily="34" charset="0"/>
            </a:rPr>
            <a:t>отырып</a:t>
          </a:r>
          <a:r>
            <a:rPr lang="ru-RU" sz="1100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dirty="0" err="1">
              <a:latin typeface="Arial" panose="020B0604020202020204" pitchFamily="34" charset="0"/>
              <a:cs typeface="Arial" panose="020B0604020202020204" pitchFamily="34" charset="0"/>
            </a:rPr>
            <a:t>түзету</a:t>
          </a:r>
          <a:r>
            <a:rPr lang="ru-RU" sz="1100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dirty="0" err="1">
              <a:latin typeface="Arial" panose="020B0604020202020204" pitchFamily="34" charset="0"/>
              <a:cs typeface="Arial" panose="020B0604020202020204" pitchFamily="34" charset="0"/>
            </a:rPr>
            <a:t>коэффициенті</a:t>
          </a:r>
          <a:endParaRPr lang="ru-RU" sz="11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9B22460-E334-47D6-9C12-8063821AC94E}" type="parTrans" cxnId="{9519A5D3-4473-4B48-9848-35E05DC9CC76}">
      <dgm:prSet/>
      <dgm:spPr/>
      <dgm:t>
        <a:bodyPr/>
        <a:lstStyle/>
        <a:p>
          <a:endParaRPr lang="ru-RU" sz="2800" b="1"/>
        </a:p>
      </dgm:t>
    </dgm:pt>
    <dgm:pt modelId="{9E94E596-5436-40C5-86E0-C855DFC8F0FE}" type="sibTrans" cxnId="{9519A5D3-4473-4B48-9848-35E05DC9CC76}">
      <dgm:prSet/>
      <dgm:spPr/>
      <dgm:t>
        <a:bodyPr/>
        <a:lstStyle/>
        <a:p>
          <a:endParaRPr lang="ru-RU" sz="2800" b="1"/>
        </a:p>
      </dgm:t>
    </dgm:pt>
    <dgm:pt modelId="{C5644116-A587-4F6A-B0FF-191A1363A22D}" type="pres">
      <dgm:prSet presAssocID="{C78012EB-3067-42C7-808D-FCCDBFCA5F5E}" presName="outerComposite" presStyleCnt="0">
        <dgm:presLayoutVars>
          <dgm:chMax val="5"/>
          <dgm:dir/>
          <dgm:resizeHandles val="exact"/>
        </dgm:presLayoutVars>
      </dgm:prSet>
      <dgm:spPr/>
    </dgm:pt>
    <dgm:pt modelId="{2E5AB477-5D7C-447B-9020-DB91CC575479}" type="pres">
      <dgm:prSet presAssocID="{C78012EB-3067-42C7-808D-FCCDBFCA5F5E}" presName="dummyMaxCanvas" presStyleCnt="0">
        <dgm:presLayoutVars/>
      </dgm:prSet>
      <dgm:spPr/>
    </dgm:pt>
    <dgm:pt modelId="{71F1AEC7-D75C-4AF1-AEDA-0DE490F9831F}" type="pres">
      <dgm:prSet presAssocID="{C78012EB-3067-42C7-808D-FCCDBFCA5F5E}" presName="FourNodes_1" presStyleLbl="node1" presStyleIdx="0" presStyleCnt="4">
        <dgm:presLayoutVars>
          <dgm:bulletEnabled val="1"/>
        </dgm:presLayoutVars>
      </dgm:prSet>
      <dgm:spPr/>
    </dgm:pt>
    <dgm:pt modelId="{59720FFC-2C16-4101-995E-44982E42F21D}" type="pres">
      <dgm:prSet presAssocID="{C78012EB-3067-42C7-808D-FCCDBFCA5F5E}" presName="FourNodes_2" presStyleLbl="node1" presStyleIdx="1" presStyleCnt="4">
        <dgm:presLayoutVars>
          <dgm:bulletEnabled val="1"/>
        </dgm:presLayoutVars>
      </dgm:prSet>
      <dgm:spPr/>
    </dgm:pt>
    <dgm:pt modelId="{F06035E9-394F-49C2-BA79-1B54FF412F36}" type="pres">
      <dgm:prSet presAssocID="{C78012EB-3067-42C7-808D-FCCDBFCA5F5E}" presName="FourNodes_3" presStyleLbl="node1" presStyleIdx="2" presStyleCnt="4">
        <dgm:presLayoutVars>
          <dgm:bulletEnabled val="1"/>
        </dgm:presLayoutVars>
      </dgm:prSet>
      <dgm:spPr/>
    </dgm:pt>
    <dgm:pt modelId="{0B3E64BA-49C5-4D99-9307-3369393A43E0}" type="pres">
      <dgm:prSet presAssocID="{C78012EB-3067-42C7-808D-FCCDBFCA5F5E}" presName="FourNodes_4" presStyleLbl="node1" presStyleIdx="3" presStyleCnt="4">
        <dgm:presLayoutVars>
          <dgm:bulletEnabled val="1"/>
        </dgm:presLayoutVars>
      </dgm:prSet>
      <dgm:spPr/>
    </dgm:pt>
    <dgm:pt modelId="{51B3314C-B657-44E2-B979-6DAE3A849E7D}" type="pres">
      <dgm:prSet presAssocID="{C78012EB-3067-42C7-808D-FCCDBFCA5F5E}" presName="FourConn_1-2" presStyleLbl="fgAccFollowNode1" presStyleIdx="0" presStyleCnt="3">
        <dgm:presLayoutVars>
          <dgm:bulletEnabled val="1"/>
        </dgm:presLayoutVars>
      </dgm:prSet>
      <dgm:spPr/>
    </dgm:pt>
    <dgm:pt modelId="{EB0F5A76-750B-4579-A800-D273C407E351}" type="pres">
      <dgm:prSet presAssocID="{C78012EB-3067-42C7-808D-FCCDBFCA5F5E}" presName="FourConn_2-3" presStyleLbl="fgAccFollowNode1" presStyleIdx="1" presStyleCnt="3">
        <dgm:presLayoutVars>
          <dgm:bulletEnabled val="1"/>
        </dgm:presLayoutVars>
      </dgm:prSet>
      <dgm:spPr/>
    </dgm:pt>
    <dgm:pt modelId="{A1E1E3D8-BEB2-46B1-939E-0AF95497BDE4}" type="pres">
      <dgm:prSet presAssocID="{C78012EB-3067-42C7-808D-FCCDBFCA5F5E}" presName="FourConn_3-4" presStyleLbl="fgAccFollowNode1" presStyleIdx="2" presStyleCnt="3">
        <dgm:presLayoutVars>
          <dgm:bulletEnabled val="1"/>
        </dgm:presLayoutVars>
      </dgm:prSet>
      <dgm:spPr/>
    </dgm:pt>
    <dgm:pt modelId="{6B87476E-57B0-4BA5-B931-7F96A1FB0B16}" type="pres">
      <dgm:prSet presAssocID="{C78012EB-3067-42C7-808D-FCCDBFCA5F5E}" presName="FourNodes_1_text" presStyleLbl="node1" presStyleIdx="3" presStyleCnt="4">
        <dgm:presLayoutVars>
          <dgm:bulletEnabled val="1"/>
        </dgm:presLayoutVars>
      </dgm:prSet>
      <dgm:spPr/>
    </dgm:pt>
    <dgm:pt modelId="{95ECB779-1225-4E1B-8488-D80DD40EE090}" type="pres">
      <dgm:prSet presAssocID="{C78012EB-3067-42C7-808D-FCCDBFCA5F5E}" presName="FourNodes_2_text" presStyleLbl="node1" presStyleIdx="3" presStyleCnt="4">
        <dgm:presLayoutVars>
          <dgm:bulletEnabled val="1"/>
        </dgm:presLayoutVars>
      </dgm:prSet>
      <dgm:spPr/>
    </dgm:pt>
    <dgm:pt modelId="{345FB2D6-0E5E-4DAE-A38A-30BCC529722A}" type="pres">
      <dgm:prSet presAssocID="{C78012EB-3067-42C7-808D-FCCDBFCA5F5E}" presName="FourNodes_3_text" presStyleLbl="node1" presStyleIdx="3" presStyleCnt="4">
        <dgm:presLayoutVars>
          <dgm:bulletEnabled val="1"/>
        </dgm:presLayoutVars>
      </dgm:prSet>
      <dgm:spPr/>
    </dgm:pt>
    <dgm:pt modelId="{BB439CD3-838C-405D-B8F9-0AF45574503B}" type="pres">
      <dgm:prSet presAssocID="{C78012EB-3067-42C7-808D-FCCDBFCA5F5E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16672106-EDB8-4409-B058-8351B879E921}" type="presOf" srcId="{1547B310-FA58-41D1-81A2-5408A7D1E7B8}" destId="{BB439CD3-838C-405D-B8F9-0AF45574503B}" srcOrd="1" destOrd="0" presId="urn:microsoft.com/office/officeart/2005/8/layout/vProcess5"/>
    <dgm:cxn modelId="{9D5E9F06-0C40-477B-957C-C162A7B6C5A2}" type="presOf" srcId="{0824FA1E-153E-4FC6-98B4-FD4928595D97}" destId="{345FB2D6-0E5E-4DAE-A38A-30BCC529722A}" srcOrd="1" destOrd="0" presId="urn:microsoft.com/office/officeart/2005/8/layout/vProcess5"/>
    <dgm:cxn modelId="{89E61D0D-EE4A-4972-A4B0-3C5489478F94}" type="presOf" srcId="{14140575-7920-451B-8F93-A38B6FD525E9}" destId="{59720FFC-2C16-4101-995E-44982E42F21D}" srcOrd="0" destOrd="0" presId="urn:microsoft.com/office/officeart/2005/8/layout/vProcess5"/>
    <dgm:cxn modelId="{68B6B115-361A-4418-82B8-1B10D4064314}" type="presOf" srcId="{941DC890-E816-40C7-BFFF-0C1C92611138}" destId="{EB0F5A76-750B-4579-A800-D273C407E351}" srcOrd="0" destOrd="0" presId="urn:microsoft.com/office/officeart/2005/8/layout/vProcess5"/>
    <dgm:cxn modelId="{43643A2F-DF0B-4CC2-A880-86D9357CA845}" type="presOf" srcId="{A49451A9-3917-40F6-A40C-EE0D1417B8C3}" destId="{71F1AEC7-D75C-4AF1-AEDA-0DE490F9831F}" srcOrd="0" destOrd="0" presId="urn:microsoft.com/office/officeart/2005/8/layout/vProcess5"/>
    <dgm:cxn modelId="{F51BED48-F88B-442C-AEB0-926D92AC9050}" srcId="{C78012EB-3067-42C7-808D-FCCDBFCA5F5E}" destId="{14140575-7920-451B-8F93-A38B6FD525E9}" srcOrd="1" destOrd="0" parTransId="{7AB69E44-1CC3-4066-B5BF-E1CCEA09B26D}" sibTransId="{941DC890-E816-40C7-BFFF-0C1C92611138}"/>
    <dgm:cxn modelId="{650DDBA9-58A6-446E-8848-A6BEFE7014CD}" type="presOf" srcId="{0824FA1E-153E-4FC6-98B4-FD4928595D97}" destId="{F06035E9-394F-49C2-BA79-1B54FF412F36}" srcOrd="0" destOrd="0" presId="urn:microsoft.com/office/officeart/2005/8/layout/vProcess5"/>
    <dgm:cxn modelId="{CC7DD1B2-0C37-4271-A087-80EDAD54AAAE}" type="presOf" srcId="{C78012EB-3067-42C7-808D-FCCDBFCA5F5E}" destId="{C5644116-A587-4F6A-B0FF-191A1363A22D}" srcOrd="0" destOrd="0" presId="urn:microsoft.com/office/officeart/2005/8/layout/vProcess5"/>
    <dgm:cxn modelId="{07D5B2B3-66DA-4236-8E57-ABB997522C22}" type="presOf" srcId="{A49451A9-3917-40F6-A40C-EE0D1417B8C3}" destId="{6B87476E-57B0-4BA5-B931-7F96A1FB0B16}" srcOrd="1" destOrd="0" presId="urn:microsoft.com/office/officeart/2005/8/layout/vProcess5"/>
    <dgm:cxn modelId="{CF31A3B9-8958-4CD6-AD06-E372673C7008}" type="presOf" srcId="{71EB94BB-4A26-4DFF-8448-64F5F04715E8}" destId="{A1E1E3D8-BEB2-46B1-939E-0AF95497BDE4}" srcOrd="0" destOrd="0" presId="urn:microsoft.com/office/officeart/2005/8/layout/vProcess5"/>
    <dgm:cxn modelId="{99D881CC-3953-4CA7-BC4D-BC0D919855DA}" type="presOf" srcId="{1547B310-FA58-41D1-81A2-5408A7D1E7B8}" destId="{0B3E64BA-49C5-4D99-9307-3369393A43E0}" srcOrd="0" destOrd="0" presId="urn:microsoft.com/office/officeart/2005/8/layout/vProcess5"/>
    <dgm:cxn modelId="{9519A5D3-4473-4B48-9848-35E05DC9CC76}" srcId="{C78012EB-3067-42C7-808D-FCCDBFCA5F5E}" destId="{1547B310-FA58-41D1-81A2-5408A7D1E7B8}" srcOrd="3" destOrd="0" parTransId="{39B22460-E334-47D6-9C12-8063821AC94E}" sibTransId="{9E94E596-5436-40C5-86E0-C855DFC8F0FE}"/>
    <dgm:cxn modelId="{37957AD6-DDD7-4A62-A4B0-4E906B7AA447}" srcId="{C78012EB-3067-42C7-808D-FCCDBFCA5F5E}" destId="{0824FA1E-153E-4FC6-98B4-FD4928595D97}" srcOrd="2" destOrd="0" parTransId="{B06FD861-382B-4F1D-B52F-DE88CD3E811C}" sibTransId="{71EB94BB-4A26-4DFF-8448-64F5F04715E8}"/>
    <dgm:cxn modelId="{46F38BEF-DA25-46F2-85F5-E472E02724C0}" srcId="{C78012EB-3067-42C7-808D-FCCDBFCA5F5E}" destId="{A49451A9-3917-40F6-A40C-EE0D1417B8C3}" srcOrd="0" destOrd="0" parTransId="{A24E01C6-2A44-4629-B622-7E9E8CA0BFF4}" sibTransId="{960E8D2C-06F7-4215-87AC-241494787B95}"/>
    <dgm:cxn modelId="{20A4E1F8-38F3-4FD4-A9D1-6B2B6EC30C14}" type="presOf" srcId="{14140575-7920-451B-8F93-A38B6FD525E9}" destId="{95ECB779-1225-4E1B-8488-D80DD40EE090}" srcOrd="1" destOrd="0" presId="urn:microsoft.com/office/officeart/2005/8/layout/vProcess5"/>
    <dgm:cxn modelId="{6312A9FF-3625-4588-9646-A3AFF7FE3FE1}" type="presOf" srcId="{960E8D2C-06F7-4215-87AC-241494787B95}" destId="{51B3314C-B657-44E2-B979-6DAE3A849E7D}" srcOrd="0" destOrd="0" presId="urn:microsoft.com/office/officeart/2005/8/layout/vProcess5"/>
    <dgm:cxn modelId="{6F5506F5-4EB0-4766-94A1-B8523B824172}" type="presParOf" srcId="{C5644116-A587-4F6A-B0FF-191A1363A22D}" destId="{2E5AB477-5D7C-447B-9020-DB91CC575479}" srcOrd="0" destOrd="0" presId="urn:microsoft.com/office/officeart/2005/8/layout/vProcess5"/>
    <dgm:cxn modelId="{13AFDF1B-DD9C-4C8C-8AE1-C9532E2362C6}" type="presParOf" srcId="{C5644116-A587-4F6A-B0FF-191A1363A22D}" destId="{71F1AEC7-D75C-4AF1-AEDA-0DE490F9831F}" srcOrd="1" destOrd="0" presId="urn:microsoft.com/office/officeart/2005/8/layout/vProcess5"/>
    <dgm:cxn modelId="{14F29024-544E-421E-A744-15197DD40B3E}" type="presParOf" srcId="{C5644116-A587-4F6A-B0FF-191A1363A22D}" destId="{59720FFC-2C16-4101-995E-44982E42F21D}" srcOrd="2" destOrd="0" presId="urn:microsoft.com/office/officeart/2005/8/layout/vProcess5"/>
    <dgm:cxn modelId="{A590D7E4-B4BE-441D-9464-057A37AA02E4}" type="presParOf" srcId="{C5644116-A587-4F6A-B0FF-191A1363A22D}" destId="{F06035E9-394F-49C2-BA79-1B54FF412F36}" srcOrd="3" destOrd="0" presId="urn:microsoft.com/office/officeart/2005/8/layout/vProcess5"/>
    <dgm:cxn modelId="{94B784DC-CDD0-4E37-8B78-B975AD351671}" type="presParOf" srcId="{C5644116-A587-4F6A-B0FF-191A1363A22D}" destId="{0B3E64BA-49C5-4D99-9307-3369393A43E0}" srcOrd="4" destOrd="0" presId="urn:microsoft.com/office/officeart/2005/8/layout/vProcess5"/>
    <dgm:cxn modelId="{3B23D5FA-B525-4E1C-9C63-7D1A73844F53}" type="presParOf" srcId="{C5644116-A587-4F6A-B0FF-191A1363A22D}" destId="{51B3314C-B657-44E2-B979-6DAE3A849E7D}" srcOrd="5" destOrd="0" presId="urn:microsoft.com/office/officeart/2005/8/layout/vProcess5"/>
    <dgm:cxn modelId="{66A2C359-311E-413D-847B-0278074EA35E}" type="presParOf" srcId="{C5644116-A587-4F6A-B0FF-191A1363A22D}" destId="{EB0F5A76-750B-4579-A800-D273C407E351}" srcOrd="6" destOrd="0" presId="urn:microsoft.com/office/officeart/2005/8/layout/vProcess5"/>
    <dgm:cxn modelId="{98AC3430-ABE3-4C4C-B94F-BB7B6D75A88B}" type="presParOf" srcId="{C5644116-A587-4F6A-B0FF-191A1363A22D}" destId="{A1E1E3D8-BEB2-46B1-939E-0AF95497BDE4}" srcOrd="7" destOrd="0" presId="urn:microsoft.com/office/officeart/2005/8/layout/vProcess5"/>
    <dgm:cxn modelId="{CC630635-B6C0-4678-93B6-F37EF6DC33BE}" type="presParOf" srcId="{C5644116-A587-4F6A-B0FF-191A1363A22D}" destId="{6B87476E-57B0-4BA5-B931-7F96A1FB0B16}" srcOrd="8" destOrd="0" presId="urn:microsoft.com/office/officeart/2005/8/layout/vProcess5"/>
    <dgm:cxn modelId="{1601BCA8-1C67-4D93-9274-E5045E79A583}" type="presParOf" srcId="{C5644116-A587-4F6A-B0FF-191A1363A22D}" destId="{95ECB779-1225-4E1B-8488-D80DD40EE090}" srcOrd="9" destOrd="0" presId="urn:microsoft.com/office/officeart/2005/8/layout/vProcess5"/>
    <dgm:cxn modelId="{33559DE9-4188-45C9-B9F7-B357FD657B22}" type="presParOf" srcId="{C5644116-A587-4F6A-B0FF-191A1363A22D}" destId="{345FB2D6-0E5E-4DAE-A38A-30BCC529722A}" srcOrd="10" destOrd="0" presId="urn:microsoft.com/office/officeart/2005/8/layout/vProcess5"/>
    <dgm:cxn modelId="{24E0F217-181E-4086-AC42-A48A2A371A9B}" type="presParOf" srcId="{C5644116-A587-4F6A-B0FF-191A1363A22D}" destId="{BB439CD3-838C-405D-B8F9-0AF45574503B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78012EB-3067-42C7-808D-FCCDBFCA5F5E}" type="doc">
      <dgm:prSet loTypeId="urn:microsoft.com/office/officeart/2005/8/layout/vProcess5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A49451A9-3917-40F6-A40C-EE0D1417B8C3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400" b="1" spc="-5" dirty="0" err="1">
              <a:latin typeface="Arial" panose="020B0604020202020204" pitchFamily="34" charset="0"/>
              <a:cs typeface="Arial" panose="020B0604020202020204" pitchFamily="34" charset="0"/>
            </a:rPr>
            <a:t>Экономикалық</a:t>
          </a:r>
          <a:r>
            <a:rPr lang="ru-RU" sz="1400" b="1" spc="-5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400" b="1" spc="-5" dirty="0" err="1">
              <a:latin typeface="Arial" panose="020B0604020202020204" pitchFamily="34" charset="0"/>
              <a:cs typeface="Arial" panose="020B0604020202020204" pitchFamily="34" charset="0"/>
            </a:rPr>
            <a:t>қызмет</a:t>
          </a:r>
          <a:r>
            <a:rPr lang="ru-RU" sz="1400" b="1" spc="-5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400" b="1" spc="-5" dirty="0" err="1">
              <a:latin typeface="Arial" panose="020B0604020202020204" pitchFamily="34" charset="0"/>
              <a:cs typeface="Arial" panose="020B0604020202020204" pitchFamily="34" charset="0"/>
            </a:rPr>
            <a:t>түрі</a:t>
          </a:r>
          <a:endParaRPr lang="ru-RU" sz="1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24E01C6-2A44-4629-B622-7E9E8CA0BFF4}" type="parTrans" cxnId="{46F38BEF-DA25-46F2-85F5-E472E02724C0}">
      <dgm:prSet/>
      <dgm:spPr/>
      <dgm:t>
        <a:bodyPr/>
        <a:lstStyle/>
        <a:p>
          <a:endParaRPr lang="ru-RU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60E8D2C-06F7-4215-87AC-241494787B95}" type="sibTrans" cxnId="{46F38BEF-DA25-46F2-85F5-E472E02724C0}">
      <dgm:prSet custT="1"/>
      <dgm:spPr>
        <a:ln>
          <a:solidFill>
            <a:srgbClr val="002060"/>
          </a:solidFill>
        </a:ln>
      </dgm:spPr>
      <dgm:t>
        <a:bodyPr/>
        <a:lstStyle/>
        <a:p>
          <a:endParaRPr lang="ru-RU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824FA1E-153E-4FC6-98B4-FD4928595D97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400" b="1" spc="-5" dirty="0" err="1">
              <a:latin typeface="Arial" panose="020B0604020202020204" pitchFamily="34" charset="0"/>
              <a:cs typeface="Arial" panose="020B0604020202020204" pitchFamily="34" charset="0"/>
            </a:rPr>
            <a:t>Әлеуметтік</a:t>
          </a:r>
          <a:r>
            <a:rPr lang="ru-RU" sz="1400" b="1" spc="-5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400" b="1" spc="-5" dirty="0" err="1">
              <a:latin typeface="Arial" panose="020B0604020202020204" pitchFamily="34" charset="0"/>
              <a:cs typeface="Arial" panose="020B0604020202020204" pitchFamily="34" charset="0"/>
            </a:rPr>
            <a:t>кепілдіктің</a:t>
          </a:r>
          <a:r>
            <a:rPr lang="ru-RU" sz="1400" b="1" spc="-5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400" b="1" spc="-5" dirty="0" err="1">
              <a:latin typeface="Arial" panose="020B0604020202020204" pitchFamily="34" charset="0"/>
              <a:cs typeface="Arial" panose="020B0604020202020204" pitchFamily="34" charset="0"/>
            </a:rPr>
            <a:t>түрі</a:t>
          </a:r>
          <a:r>
            <a:rPr lang="ru-RU" sz="1400" b="1" spc="-5" dirty="0">
              <a:latin typeface="Arial" panose="020B0604020202020204" pitchFamily="34" charset="0"/>
              <a:cs typeface="Arial" panose="020B0604020202020204" pitchFamily="34" charset="0"/>
            </a:rPr>
            <a:t> мен </a:t>
          </a:r>
          <a:r>
            <a:rPr lang="ru-RU" sz="1400" b="1" spc="-5" dirty="0" err="1">
              <a:latin typeface="Arial" panose="020B0604020202020204" pitchFamily="34" charset="0"/>
              <a:cs typeface="Arial" panose="020B0604020202020204" pitchFamily="34" charset="0"/>
            </a:rPr>
            <a:t>көлемі</a:t>
          </a:r>
          <a:endParaRPr lang="ru-RU" sz="1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06FD861-382B-4F1D-B52F-DE88CD3E811C}" type="parTrans" cxnId="{37957AD6-DDD7-4A62-A4B0-4E906B7AA447}">
      <dgm:prSet/>
      <dgm:spPr/>
      <dgm:t>
        <a:bodyPr/>
        <a:lstStyle/>
        <a:p>
          <a:endParaRPr lang="ru-RU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1EB94BB-4A26-4DFF-8448-64F5F04715E8}" type="sibTrans" cxnId="{37957AD6-DDD7-4A62-A4B0-4E906B7AA447}">
      <dgm:prSet custT="1"/>
      <dgm:spPr/>
      <dgm:t>
        <a:bodyPr/>
        <a:lstStyle/>
        <a:p>
          <a:endParaRPr lang="ru-RU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4140575-7920-451B-8F93-A38B6FD525E9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kk-KZ" sz="1400" b="1" spc="-10" dirty="0">
              <a:latin typeface="Arial" panose="020B0604020202020204" pitchFamily="34" charset="0"/>
              <a:cs typeface="Arial" panose="020B0604020202020204" pitchFamily="34" charset="0"/>
            </a:rPr>
            <a:t>Мамандық, жұмыс түрі</a:t>
          </a:r>
          <a:endParaRPr lang="ru-RU" sz="1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AB69E44-1CC3-4066-B5BF-E1CCEA09B26D}" type="parTrans" cxnId="{F51BED48-F88B-442C-AEB0-926D92AC9050}">
      <dgm:prSet/>
      <dgm:spPr/>
      <dgm:t>
        <a:bodyPr/>
        <a:lstStyle/>
        <a:p>
          <a:endParaRPr lang="ru-RU" sz="3200" b="1"/>
        </a:p>
      </dgm:t>
    </dgm:pt>
    <dgm:pt modelId="{941DC890-E816-40C7-BFFF-0C1C92611138}" type="sibTrans" cxnId="{F51BED48-F88B-442C-AEB0-926D92AC9050}">
      <dgm:prSet custT="1"/>
      <dgm:spPr>
        <a:ln>
          <a:solidFill>
            <a:srgbClr val="002060"/>
          </a:solidFill>
        </a:ln>
      </dgm:spPr>
      <dgm:t>
        <a:bodyPr/>
        <a:lstStyle/>
        <a:p>
          <a:endParaRPr lang="ru-RU" sz="3200" b="1"/>
        </a:p>
      </dgm:t>
    </dgm:pt>
    <dgm:pt modelId="{C5644116-A587-4F6A-B0FF-191A1363A22D}" type="pres">
      <dgm:prSet presAssocID="{C78012EB-3067-42C7-808D-FCCDBFCA5F5E}" presName="outerComposite" presStyleCnt="0">
        <dgm:presLayoutVars>
          <dgm:chMax val="5"/>
          <dgm:dir/>
          <dgm:resizeHandles val="exact"/>
        </dgm:presLayoutVars>
      </dgm:prSet>
      <dgm:spPr/>
    </dgm:pt>
    <dgm:pt modelId="{2E5AB477-5D7C-447B-9020-DB91CC575479}" type="pres">
      <dgm:prSet presAssocID="{C78012EB-3067-42C7-808D-FCCDBFCA5F5E}" presName="dummyMaxCanvas" presStyleCnt="0">
        <dgm:presLayoutVars/>
      </dgm:prSet>
      <dgm:spPr/>
    </dgm:pt>
    <dgm:pt modelId="{79FB431E-AEDC-4099-8B29-C7482947A436}" type="pres">
      <dgm:prSet presAssocID="{C78012EB-3067-42C7-808D-FCCDBFCA5F5E}" presName="ThreeNodes_1" presStyleLbl="node1" presStyleIdx="0" presStyleCnt="3">
        <dgm:presLayoutVars>
          <dgm:bulletEnabled val="1"/>
        </dgm:presLayoutVars>
      </dgm:prSet>
      <dgm:spPr/>
    </dgm:pt>
    <dgm:pt modelId="{04B03D88-2F6D-47E4-B0DA-8DF94F5C4321}" type="pres">
      <dgm:prSet presAssocID="{C78012EB-3067-42C7-808D-FCCDBFCA5F5E}" presName="ThreeNodes_2" presStyleLbl="node1" presStyleIdx="1" presStyleCnt="3">
        <dgm:presLayoutVars>
          <dgm:bulletEnabled val="1"/>
        </dgm:presLayoutVars>
      </dgm:prSet>
      <dgm:spPr/>
    </dgm:pt>
    <dgm:pt modelId="{FE162E05-2758-46C0-86A1-89B77D64B2CA}" type="pres">
      <dgm:prSet presAssocID="{C78012EB-3067-42C7-808D-FCCDBFCA5F5E}" presName="ThreeNodes_3" presStyleLbl="node1" presStyleIdx="2" presStyleCnt="3">
        <dgm:presLayoutVars>
          <dgm:bulletEnabled val="1"/>
        </dgm:presLayoutVars>
      </dgm:prSet>
      <dgm:spPr/>
    </dgm:pt>
    <dgm:pt modelId="{88AAF558-22BE-4D9A-8A3C-F153D083554B}" type="pres">
      <dgm:prSet presAssocID="{C78012EB-3067-42C7-808D-FCCDBFCA5F5E}" presName="ThreeConn_1-2" presStyleLbl="fgAccFollowNode1" presStyleIdx="0" presStyleCnt="2">
        <dgm:presLayoutVars>
          <dgm:bulletEnabled val="1"/>
        </dgm:presLayoutVars>
      </dgm:prSet>
      <dgm:spPr/>
    </dgm:pt>
    <dgm:pt modelId="{9F9415B8-B9E7-4E68-85CB-1AAAA35388F3}" type="pres">
      <dgm:prSet presAssocID="{C78012EB-3067-42C7-808D-FCCDBFCA5F5E}" presName="ThreeConn_2-3" presStyleLbl="fgAccFollowNode1" presStyleIdx="1" presStyleCnt="2">
        <dgm:presLayoutVars>
          <dgm:bulletEnabled val="1"/>
        </dgm:presLayoutVars>
      </dgm:prSet>
      <dgm:spPr/>
    </dgm:pt>
    <dgm:pt modelId="{45F4F9AD-F7D2-48D9-B41C-784CB0A437D6}" type="pres">
      <dgm:prSet presAssocID="{C78012EB-3067-42C7-808D-FCCDBFCA5F5E}" presName="ThreeNodes_1_text" presStyleLbl="node1" presStyleIdx="2" presStyleCnt="3">
        <dgm:presLayoutVars>
          <dgm:bulletEnabled val="1"/>
        </dgm:presLayoutVars>
      </dgm:prSet>
      <dgm:spPr/>
    </dgm:pt>
    <dgm:pt modelId="{B8D6E06B-A8A4-4B49-9EFB-32CC260120D0}" type="pres">
      <dgm:prSet presAssocID="{C78012EB-3067-42C7-808D-FCCDBFCA5F5E}" presName="ThreeNodes_2_text" presStyleLbl="node1" presStyleIdx="2" presStyleCnt="3">
        <dgm:presLayoutVars>
          <dgm:bulletEnabled val="1"/>
        </dgm:presLayoutVars>
      </dgm:prSet>
      <dgm:spPr/>
    </dgm:pt>
    <dgm:pt modelId="{84895D05-F742-4AE3-AB8C-B7E20E3EB22A}" type="pres">
      <dgm:prSet presAssocID="{C78012EB-3067-42C7-808D-FCCDBFCA5F5E}" presName="ThreeNodes_3_text" presStyleLbl="node1" presStyleIdx="2" presStyleCnt="3">
        <dgm:presLayoutVars>
          <dgm:bulletEnabled val="1"/>
        </dgm:presLayoutVars>
      </dgm:prSet>
      <dgm:spPr/>
    </dgm:pt>
  </dgm:ptLst>
  <dgm:cxnLst>
    <dgm:cxn modelId="{752B6702-0CDD-44A9-9955-1CC00DD3AA6C}" type="presOf" srcId="{0824FA1E-153E-4FC6-98B4-FD4928595D97}" destId="{84895D05-F742-4AE3-AB8C-B7E20E3EB22A}" srcOrd="1" destOrd="0" presId="urn:microsoft.com/office/officeart/2005/8/layout/vProcess5"/>
    <dgm:cxn modelId="{6849FF20-8D1B-426C-B7A3-94EF78E62379}" type="presOf" srcId="{14140575-7920-451B-8F93-A38B6FD525E9}" destId="{B8D6E06B-A8A4-4B49-9EFB-32CC260120D0}" srcOrd="1" destOrd="0" presId="urn:microsoft.com/office/officeart/2005/8/layout/vProcess5"/>
    <dgm:cxn modelId="{CE620C29-5362-4FFE-B480-E391B3D33CD5}" type="presOf" srcId="{960E8D2C-06F7-4215-87AC-241494787B95}" destId="{88AAF558-22BE-4D9A-8A3C-F153D083554B}" srcOrd="0" destOrd="0" presId="urn:microsoft.com/office/officeart/2005/8/layout/vProcess5"/>
    <dgm:cxn modelId="{F51BED48-F88B-442C-AEB0-926D92AC9050}" srcId="{C78012EB-3067-42C7-808D-FCCDBFCA5F5E}" destId="{14140575-7920-451B-8F93-A38B6FD525E9}" srcOrd="1" destOrd="0" parTransId="{7AB69E44-1CC3-4066-B5BF-E1CCEA09B26D}" sibTransId="{941DC890-E816-40C7-BFFF-0C1C92611138}"/>
    <dgm:cxn modelId="{27D5A0A2-13D1-43E4-BA83-D839A12E8410}" type="presOf" srcId="{14140575-7920-451B-8F93-A38B6FD525E9}" destId="{04B03D88-2F6D-47E4-B0DA-8DF94F5C4321}" srcOrd="0" destOrd="0" presId="urn:microsoft.com/office/officeart/2005/8/layout/vProcess5"/>
    <dgm:cxn modelId="{4F4271A8-7581-46A8-926C-6C06C0178E92}" type="presOf" srcId="{A49451A9-3917-40F6-A40C-EE0D1417B8C3}" destId="{79FB431E-AEDC-4099-8B29-C7482947A436}" srcOrd="0" destOrd="0" presId="urn:microsoft.com/office/officeart/2005/8/layout/vProcess5"/>
    <dgm:cxn modelId="{D79E69B4-0FA8-46D2-AAA3-97409B02C254}" type="presOf" srcId="{C78012EB-3067-42C7-808D-FCCDBFCA5F5E}" destId="{C5644116-A587-4F6A-B0FF-191A1363A22D}" srcOrd="0" destOrd="0" presId="urn:microsoft.com/office/officeart/2005/8/layout/vProcess5"/>
    <dgm:cxn modelId="{D02793C6-0907-459A-9A8D-2970144AB637}" type="presOf" srcId="{941DC890-E816-40C7-BFFF-0C1C92611138}" destId="{9F9415B8-B9E7-4E68-85CB-1AAAA35388F3}" srcOrd="0" destOrd="0" presId="urn:microsoft.com/office/officeart/2005/8/layout/vProcess5"/>
    <dgm:cxn modelId="{37957AD6-DDD7-4A62-A4B0-4E906B7AA447}" srcId="{C78012EB-3067-42C7-808D-FCCDBFCA5F5E}" destId="{0824FA1E-153E-4FC6-98B4-FD4928595D97}" srcOrd="2" destOrd="0" parTransId="{B06FD861-382B-4F1D-B52F-DE88CD3E811C}" sibTransId="{71EB94BB-4A26-4DFF-8448-64F5F04715E8}"/>
    <dgm:cxn modelId="{200565E3-AB50-4666-9697-599E086295F6}" type="presOf" srcId="{A49451A9-3917-40F6-A40C-EE0D1417B8C3}" destId="{45F4F9AD-F7D2-48D9-B41C-784CB0A437D6}" srcOrd="1" destOrd="0" presId="urn:microsoft.com/office/officeart/2005/8/layout/vProcess5"/>
    <dgm:cxn modelId="{46F38BEF-DA25-46F2-85F5-E472E02724C0}" srcId="{C78012EB-3067-42C7-808D-FCCDBFCA5F5E}" destId="{A49451A9-3917-40F6-A40C-EE0D1417B8C3}" srcOrd="0" destOrd="0" parTransId="{A24E01C6-2A44-4629-B622-7E9E8CA0BFF4}" sibTransId="{960E8D2C-06F7-4215-87AC-241494787B95}"/>
    <dgm:cxn modelId="{9EB376F2-7DFF-4D19-87B5-C40E2F2CEB6B}" type="presOf" srcId="{0824FA1E-153E-4FC6-98B4-FD4928595D97}" destId="{FE162E05-2758-46C0-86A1-89B77D64B2CA}" srcOrd="0" destOrd="0" presId="urn:microsoft.com/office/officeart/2005/8/layout/vProcess5"/>
    <dgm:cxn modelId="{848C87EF-3224-4611-A1D9-2E7A494A3E79}" type="presParOf" srcId="{C5644116-A587-4F6A-B0FF-191A1363A22D}" destId="{2E5AB477-5D7C-447B-9020-DB91CC575479}" srcOrd="0" destOrd="0" presId="urn:microsoft.com/office/officeart/2005/8/layout/vProcess5"/>
    <dgm:cxn modelId="{7C6184CA-033B-47E5-9665-BA4FCB2015A2}" type="presParOf" srcId="{C5644116-A587-4F6A-B0FF-191A1363A22D}" destId="{79FB431E-AEDC-4099-8B29-C7482947A436}" srcOrd="1" destOrd="0" presId="urn:microsoft.com/office/officeart/2005/8/layout/vProcess5"/>
    <dgm:cxn modelId="{12475CF3-9CF2-426B-ACC1-8CEC3D3F0765}" type="presParOf" srcId="{C5644116-A587-4F6A-B0FF-191A1363A22D}" destId="{04B03D88-2F6D-47E4-B0DA-8DF94F5C4321}" srcOrd="2" destOrd="0" presId="urn:microsoft.com/office/officeart/2005/8/layout/vProcess5"/>
    <dgm:cxn modelId="{1D070218-BFF9-4BC4-A30B-7F8EE5ACF887}" type="presParOf" srcId="{C5644116-A587-4F6A-B0FF-191A1363A22D}" destId="{FE162E05-2758-46C0-86A1-89B77D64B2CA}" srcOrd="3" destOrd="0" presId="urn:microsoft.com/office/officeart/2005/8/layout/vProcess5"/>
    <dgm:cxn modelId="{C97D0117-1264-44BD-8FA1-81EBC08C1D02}" type="presParOf" srcId="{C5644116-A587-4F6A-B0FF-191A1363A22D}" destId="{88AAF558-22BE-4D9A-8A3C-F153D083554B}" srcOrd="4" destOrd="0" presId="urn:microsoft.com/office/officeart/2005/8/layout/vProcess5"/>
    <dgm:cxn modelId="{2ED9981F-DCEC-46FD-9228-79219027DB3D}" type="presParOf" srcId="{C5644116-A587-4F6A-B0FF-191A1363A22D}" destId="{9F9415B8-B9E7-4E68-85CB-1AAAA35388F3}" srcOrd="5" destOrd="0" presId="urn:microsoft.com/office/officeart/2005/8/layout/vProcess5"/>
    <dgm:cxn modelId="{76D91998-EC81-45B3-839E-D6FCE4DA36C6}" type="presParOf" srcId="{C5644116-A587-4F6A-B0FF-191A1363A22D}" destId="{45F4F9AD-F7D2-48D9-B41C-784CB0A437D6}" srcOrd="6" destOrd="0" presId="urn:microsoft.com/office/officeart/2005/8/layout/vProcess5"/>
    <dgm:cxn modelId="{C2B21DD9-9A1F-426B-944D-3D4EE9F534F3}" type="presParOf" srcId="{C5644116-A587-4F6A-B0FF-191A1363A22D}" destId="{B8D6E06B-A8A4-4B49-9EFB-32CC260120D0}" srcOrd="7" destOrd="0" presId="urn:microsoft.com/office/officeart/2005/8/layout/vProcess5"/>
    <dgm:cxn modelId="{595CF2B7-86EB-41D7-B22D-F7A001BA1032}" type="presParOf" srcId="{C5644116-A587-4F6A-B0FF-191A1363A22D}" destId="{84895D05-F742-4AE3-AB8C-B7E20E3EB22A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B7BD62B-1205-47B7-9997-90DEB97210A2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73B74EC-AF74-45A7-85A5-CB8F316ECCC8}">
      <dgm:prSet phldrT="[Текст]" custT="1"/>
      <dgm:spPr>
        <a:solidFill>
          <a:srgbClr val="FF0000">
            <a:alpha val="90000"/>
          </a:srgbClr>
        </a:solidFill>
      </dgm:spPr>
      <dgm:t>
        <a:bodyPr/>
        <a:lstStyle/>
        <a:p>
          <a:pPr rtl="0"/>
          <a:r>
            <a:rPr lang="ru-RU" sz="1000" b="1" i="0" u="none" dirty="0" err="1">
              <a:solidFill>
                <a:schemeClr val="bg1"/>
              </a:solidFill>
            </a:rPr>
            <a:t>Кәсіби</a:t>
          </a:r>
          <a:r>
            <a:rPr lang="ru-RU" sz="1000" b="1" i="0" u="none" dirty="0">
              <a:solidFill>
                <a:schemeClr val="bg1"/>
              </a:solidFill>
            </a:rPr>
            <a:t> </a:t>
          </a:r>
          <a:r>
            <a:rPr lang="ru-RU" sz="1000" b="1" i="0" u="none" dirty="0" err="1">
              <a:solidFill>
                <a:schemeClr val="bg1"/>
              </a:solidFill>
            </a:rPr>
            <a:t>еңбекақы</a:t>
          </a:r>
          <a:r>
            <a:rPr lang="ru-RU" sz="1000" b="1" i="0" u="none" dirty="0">
              <a:solidFill>
                <a:schemeClr val="bg1"/>
              </a:solidFill>
            </a:rPr>
            <a:t> </a:t>
          </a:r>
          <a:r>
            <a:rPr lang="ru-RU" sz="1000" b="1" i="0" u="none" dirty="0" err="1">
              <a:solidFill>
                <a:schemeClr val="bg1"/>
              </a:solidFill>
            </a:rPr>
            <a:t>жарналары</a:t>
          </a:r>
          <a:endParaRPr lang="ru-RU" sz="1000" dirty="0">
            <a:solidFill>
              <a:schemeClr val="bg1"/>
            </a:solidFill>
          </a:endParaRPr>
        </a:p>
      </dgm:t>
    </dgm:pt>
    <dgm:pt modelId="{583F10D7-73BE-4758-A461-85794EFEEE3B}" type="parTrans" cxnId="{615418CD-DEF9-4E16-B7E3-FFE81037D5E3}">
      <dgm:prSet/>
      <dgm:spPr/>
      <dgm:t>
        <a:bodyPr/>
        <a:lstStyle/>
        <a:p>
          <a:endParaRPr lang="ru-RU"/>
        </a:p>
      </dgm:t>
    </dgm:pt>
    <dgm:pt modelId="{6BFF2647-12F5-4E77-82D7-6FA2ADBBDFCE}" type="sibTrans" cxnId="{615418CD-DEF9-4E16-B7E3-FFE81037D5E3}">
      <dgm:prSet/>
      <dgm:spPr/>
      <dgm:t>
        <a:bodyPr/>
        <a:lstStyle/>
        <a:p>
          <a:endParaRPr lang="ru-RU"/>
        </a:p>
      </dgm:t>
    </dgm:pt>
    <dgm:pt modelId="{63B7EC93-D9F7-4F36-9057-4F29568657EF}">
      <dgm:prSet custT="1"/>
      <dgm:spPr>
        <a:solidFill>
          <a:srgbClr val="FF0000">
            <a:alpha val="90000"/>
          </a:srgbClr>
        </a:solidFill>
      </dgm:spPr>
      <dgm:t>
        <a:bodyPr/>
        <a:lstStyle/>
        <a:p>
          <a:r>
            <a:rPr lang="ru-RU" sz="1000" b="1" i="0" u="none" dirty="0" err="1">
              <a:solidFill>
                <a:schemeClr val="bg1"/>
              </a:solidFill>
            </a:rPr>
            <a:t>Қысқартылған</a:t>
          </a:r>
          <a:r>
            <a:rPr lang="ru-RU" sz="1000" b="1" i="0" u="none" dirty="0">
              <a:solidFill>
                <a:schemeClr val="bg1"/>
              </a:solidFill>
            </a:rPr>
            <a:t> </a:t>
          </a:r>
          <a:r>
            <a:rPr lang="ru-RU" sz="1000" b="1" i="0" u="none" dirty="0" err="1">
              <a:solidFill>
                <a:schemeClr val="bg1"/>
              </a:solidFill>
            </a:rPr>
            <a:t>жұмыс</a:t>
          </a:r>
          <a:r>
            <a:rPr lang="ru-RU" sz="1000" b="1" i="0" u="none" dirty="0">
              <a:solidFill>
                <a:schemeClr val="bg1"/>
              </a:solidFill>
            </a:rPr>
            <a:t> </a:t>
          </a:r>
          <a:r>
            <a:rPr lang="ru-RU" sz="1000" b="1" i="0" u="none" dirty="0" err="1">
              <a:solidFill>
                <a:schemeClr val="bg1"/>
              </a:solidFill>
            </a:rPr>
            <a:t>уақыты</a:t>
          </a:r>
          <a:endParaRPr lang="ru-RU" sz="1000" dirty="0">
            <a:solidFill>
              <a:schemeClr val="bg1"/>
            </a:solidFill>
          </a:endParaRPr>
        </a:p>
      </dgm:t>
    </dgm:pt>
    <dgm:pt modelId="{D0EC9552-815D-40E1-BE8F-EAFDA1463E7A}" type="parTrans" cxnId="{39F0DECA-2FBD-4E81-917F-5FBC46092B9A}">
      <dgm:prSet/>
      <dgm:spPr/>
      <dgm:t>
        <a:bodyPr/>
        <a:lstStyle/>
        <a:p>
          <a:endParaRPr lang="ru-RU"/>
        </a:p>
      </dgm:t>
    </dgm:pt>
    <dgm:pt modelId="{F215F6A9-447F-4576-ACEE-1A996CCBC968}" type="sibTrans" cxnId="{39F0DECA-2FBD-4E81-917F-5FBC46092B9A}">
      <dgm:prSet/>
      <dgm:spPr/>
      <dgm:t>
        <a:bodyPr/>
        <a:lstStyle/>
        <a:p>
          <a:endParaRPr lang="ru-RU"/>
        </a:p>
      </dgm:t>
    </dgm:pt>
    <dgm:pt modelId="{CA176541-CD50-48F8-BB75-5B5813C5A54C}">
      <dgm:prSet phldrT="[Текст]" custT="1"/>
      <dgm:spPr>
        <a:solidFill>
          <a:srgbClr val="92D050">
            <a:alpha val="90000"/>
          </a:srgbClr>
        </a:solidFill>
      </dgm:spPr>
      <dgm:t>
        <a:bodyPr/>
        <a:lstStyle/>
        <a:p>
          <a:pPr rtl="0"/>
          <a:r>
            <a:rPr lang="ru-RU" sz="1000" b="1" i="0" u="none" baseline="0" dirty="0" err="1">
              <a:solidFill>
                <a:schemeClr val="tx1"/>
              </a:solidFill>
            </a:rPr>
            <a:t>Еңбекақының</a:t>
          </a:r>
          <a:r>
            <a:rPr lang="ru-RU" sz="1000" b="1" i="0" u="none" baseline="0" dirty="0">
              <a:solidFill>
                <a:schemeClr val="tx1"/>
              </a:solidFill>
            </a:rPr>
            <a:t> </a:t>
          </a:r>
          <a:r>
            <a:rPr lang="ru-RU" sz="1000" b="1" i="0" u="none" baseline="0" dirty="0" err="1">
              <a:solidFill>
                <a:schemeClr val="tx1"/>
              </a:solidFill>
            </a:rPr>
            <a:t>мөлшерін</a:t>
          </a:r>
          <a:r>
            <a:rPr lang="ru-RU" sz="1000" b="1" i="0" u="none" baseline="0" dirty="0">
              <a:solidFill>
                <a:schemeClr val="tx1"/>
              </a:solidFill>
            </a:rPr>
            <a:t> </a:t>
          </a:r>
          <a:r>
            <a:rPr lang="ru-RU" sz="1000" b="1" i="0" u="none" baseline="0" dirty="0" err="1">
              <a:solidFill>
                <a:schemeClr val="tx1"/>
              </a:solidFill>
            </a:rPr>
            <a:t>арттыру</a:t>
          </a:r>
          <a:endParaRPr lang="ru-KZ" sz="1000" b="1" i="0" u="none" baseline="0" dirty="0">
            <a:solidFill>
              <a:schemeClr val="tx1"/>
            </a:solidFill>
          </a:endParaRPr>
        </a:p>
      </dgm:t>
    </dgm:pt>
    <dgm:pt modelId="{0A477F30-8B84-482E-B888-AD786E8200AB}" type="parTrans" cxnId="{36627AC5-C3AD-45A6-8A87-C67BAF722403}">
      <dgm:prSet/>
      <dgm:spPr/>
      <dgm:t>
        <a:bodyPr/>
        <a:lstStyle/>
        <a:p>
          <a:endParaRPr lang="ru-RU"/>
        </a:p>
      </dgm:t>
    </dgm:pt>
    <dgm:pt modelId="{3AF6D3F8-4676-4F49-9145-79AD065CECF1}" type="sibTrans" cxnId="{36627AC5-C3AD-45A6-8A87-C67BAF722403}">
      <dgm:prSet/>
      <dgm:spPr/>
      <dgm:t>
        <a:bodyPr/>
        <a:lstStyle/>
        <a:p>
          <a:endParaRPr lang="ru-RU"/>
        </a:p>
      </dgm:t>
    </dgm:pt>
    <dgm:pt modelId="{EC40DEAD-7E41-4F5D-B83A-13003F8D54DA}">
      <dgm:prSet custT="1"/>
      <dgm:spPr>
        <a:solidFill>
          <a:schemeClr val="accent4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ru-RU" sz="1000" b="1" i="0" u="none" dirty="0" err="1"/>
            <a:t>Сүт</a:t>
          </a:r>
          <a:r>
            <a:rPr lang="ru-RU" sz="1000" b="1" i="0" u="none" dirty="0"/>
            <a:t> </a:t>
          </a:r>
          <a:r>
            <a:rPr lang="ru-RU" sz="1000" b="1" i="0" u="none" dirty="0" err="1"/>
            <a:t>және</a:t>
          </a:r>
          <a:r>
            <a:rPr lang="ru-RU" sz="1000" b="1" i="0" u="none" dirty="0"/>
            <a:t> ТТӨ</a:t>
          </a:r>
          <a:endParaRPr lang="ru-RU" sz="1000" dirty="0"/>
        </a:p>
      </dgm:t>
    </dgm:pt>
    <dgm:pt modelId="{8D681B01-19C7-46DA-A88C-D9362D8AE86E}" type="parTrans" cxnId="{61754D41-E9D4-43B2-936B-CED850F74A3B}">
      <dgm:prSet/>
      <dgm:spPr/>
      <dgm:t>
        <a:bodyPr/>
        <a:lstStyle/>
        <a:p>
          <a:endParaRPr lang="ru-RU"/>
        </a:p>
      </dgm:t>
    </dgm:pt>
    <dgm:pt modelId="{A0D3A0E2-B16A-4974-8F6A-70886D230EC9}" type="sibTrans" cxnId="{61754D41-E9D4-43B2-936B-CED850F74A3B}">
      <dgm:prSet/>
      <dgm:spPr/>
      <dgm:t>
        <a:bodyPr/>
        <a:lstStyle/>
        <a:p>
          <a:endParaRPr lang="ru-RU"/>
        </a:p>
      </dgm:t>
    </dgm:pt>
    <dgm:pt modelId="{787C039E-9695-4197-892B-E689209446F9}">
      <dgm:prSet phldrT="[Текст]" custT="1"/>
      <dgm:spPr>
        <a:solidFill>
          <a:srgbClr val="FF7C80">
            <a:alpha val="90000"/>
          </a:srgbClr>
        </a:solidFill>
      </dgm:spPr>
      <dgm:t>
        <a:bodyPr/>
        <a:lstStyle/>
        <a:p>
          <a:pPr rtl="0"/>
          <a:r>
            <a:rPr lang="ru-RU" sz="1000" b="1" i="0" u="none" dirty="0" err="1"/>
            <a:t>Емдік</a:t>
          </a:r>
          <a:r>
            <a:rPr lang="ru-RU" sz="1000" b="1" i="0" u="none" dirty="0"/>
            <a:t> </a:t>
          </a:r>
          <a:r>
            <a:rPr lang="ru-RU" sz="1000" b="1" i="0" u="none" dirty="0" err="1"/>
            <a:t>және</a:t>
          </a:r>
          <a:r>
            <a:rPr lang="ru-RU" sz="1000" b="1" i="0" u="none" dirty="0"/>
            <a:t> </a:t>
          </a:r>
          <a:r>
            <a:rPr lang="ru-RU" sz="1000" b="1" i="0" u="none" dirty="0" err="1"/>
            <a:t>профилактикалық</a:t>
          </a:r>
          <a:r>
            <a:rPr lang="ru-RU" sz="1000" b="1" i="0" u="none" dirty="0"/>
            <a:t> </a:t>
          </a:r>
          <a:r>
            <a:rPr lang="ru-RU" sz="1000" b="1" i="0" u="none" dirty="0" err="1"/>
            <a:t>тамақтану</a:t>
          </a:r>
          <a:endParaRPr lang="ru-RU" sz="1000" dirty="0"/>
        </a:p>
      </dgm:t>
    </dgm:pt>
    <dgm:pt modelId="{427E25DB-AE49-4C48-B72D-E792EFCBA823}" type="parTrans" cxnId="{036E332E-37E4-4F27-8801-FB3F9DCE3847}">
      <dgm:prSet/>
      <dgm:spPr/>
      <dgm:t>
        <a:bodyPr/>
        <a:lstStyle/>
        <a:p>
          <a:endParaRPr lang="ru-RU"/>
        </a:p>
      </dgm:t>
    </dgm:pt>
    <dgm:pt modelId="{FB4580A9-8634-4612-8CB0-CC22966D4CCF}" type="sibTrans" cxnId="{036E332E-37E4-4F27-8801-FB3F9DCE3847}">
      <dgm:prSet/>
      <dgm:spPr/>
      <dgm:t>
        <a:bodyPr/>
        <a:lstStyle/>
        <a:p>
          <a:endParaRPr lang="ru-RU"/>
        </a:p>
      </dgm:t>
    </dgm:pt>
    <dgm:pt modelId="{4C44D62D-44B0-4B61-9146-8BA70140F61B}">
      <dgm:prSet custT="1"/>
      <dgm:spPr>
        <a:solidFill>
          <a:schemeClr val="accent4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ru-RU" sz="1000" b="1" i="0" u="none" dirty="0" err="1"/>
            <a:t>Қосымша</a:t>
          </a:r>
          <a:r>
            <a:rPr lang="ru-RU" sz="1000" b="1" i="0" u="none" dirty="0"/>
            <a:t> </a:t>
          </a:r>
          <a:r>
            <a:rPr lang="ru-RU" sz="1000" b="1" i="0" u="none" dirty="0" err="1"/>
            <a:t>еңбек</a:t>
          </a:r>
          <a:r>
            <a:rPr lang="ru-RU" sz="1000" b="1" i="0" u="none" dirty="0"/>
            <a:t> </a:t>
          </a:r>
          <a:r>
            <a:rPr lang="ru-RU" sz="1000" b="1" i="0" u="none" dirty="0" err="1"/>
            <a:t>демалысы</a:t>
          </a:r>
          <a:endParaRPr lang="ru-RU" sz="1000" dirty="0"/>
        </a:p>
      </dgm:t>
    </dgm:pt>
    <dgm:pt modelId="{E618CF33-A31C-49C6-9661-8B3BC5FE6A18}" type="parTrans" cxnId="{C25C269D-813B-42BE-BB8C-689F350BF16A}">
      <dgm:prSet/>
      <dgm:spPr/>
      <dgm:t>
        <a:bodyPr/>
        <a:lstStyle/>
        <a:p>
          <a:endParaRPr lang="ru-RU"/>
        </a:p>
      </dgm:t>
    </dgm:pt>
    <dgm:pt modelId="{9516AF24-F583-4B4D-875E-86E57CC25F60}" type="sibTrans" cxnId="{C25C269D-813B-42BE-BB8C-689F350BF16A}">
      <dgm:prSet/>
      <dgm:spPr/>
      <dgm:t>
        <a:bodyPr/>
        <a:lstStyle/>
        <a:p>
          <a:endParaRPr lang="ru-RU"/>
        </a:p>
      </dgm:t>
    </dgm:pt>
    <dgm:pt modelId="{600F5500-1BD7-4AEA-A145-6E37E4FD0A38}" type="pres">
      <dgm:prSet presAssocID="{5B7BD62B-1205-47B7-9997-90DEB97210A2}" presName="compositeShape" presStyleCnt="0">
        <dgm:presLayoutVars>
          <dgm:dir val="rev"/>
          <dgm:resizeHandles/>
        </dgm:presLayoutVars>
      </dgm:prSet>
      <dgm:spPr/>
    </dgm:pt>
    <dgm:pt modelId="{AB1ACAB2-1808-424E-9879-26740B83C20E}" type="pres">
      <dgm:prSet presAssocID="{5B7BD62B-1205-47B7-9997-90DEB97210A2}" presName="pyramid" presStyleLbl="node1" presStyleIdx="0" presStyleCnt="1" custAng="10800000" custScaleX="98112" custLinFactNeighborX="-4800"/>
      <dgm:spPr>
        <a:solidFill>
          <a:schemeClr val="bg1">
            <a:lumMod val="85000"/>
          </a:schemeClr>
        </a:solidFill>
      </dgm:spPr>
    </dgm:pt>
    <dgm:pt modelId="{8FD49BC3-8F7C-4BE6-93C0-DC3A3F8A1C9F}" type="pres">
      <dgm:prSet presAssocID="{5B7BD62B-1205-47B7-9997-90DEB97210A2}" presName="theList" presStyleCnt="0"/>
      <dgm:spPr/>
    </dgm:pt>
    <dgm:pt modelId="{488892CD-BEF2-4F72-B2F2-06419E622F23}" type="pres">
      <dgm:prSet presAssocID="{273B74EC-AF74-45A7-85A5-CB8F316ECCC8}" presName="aNode" presStyleLbl="fgAcc1" presStyleIdx="0" presStyleCnt="6" custScaleX="128079" custLinFactNeighborX="7170" custLinFactNeighborY="-29531">
        <dgm:presLayoutVars>
          <dgm:bulletEnabled val="1"/>
        </dgm:presLayoutVars>
      </dgm:prSet>
      <dgm:spPr/>
    </dgm:pt>
    <dgm:pt modelId="{40DFFED0-7A2F-4AF5-9DDF-9CD3644A714C}" type="pres">
      <dgm:prSet presAssocID="{273B74EC-AF74-45A7-85A5-CB8F316ECCC8}" presName="aSpace" presStyleCnt="0"/>
      <dgm:spPr/>
    </dgm:pt>
    <dgm:pt modelId="{3C30B4E7-5724-4299-9782-DC62B2E39239}" type="pres">
      <dgm:prSet presAssocID="{63B7EC93-D9F7-4F36-9057-4F29568657EF}" presName="aNode" presStyleLbl="fgAcc1" presStyleIdx="1" presStyleCnt="6" custScaleX="128079" custLinFactNeighborX="5866" custLinFactNeighborY="22403">
        <dgm:presLayoutVars>
          <dgm:bulletEnabled val="1"/>
        </dgm:presLayoutVars>
      </dgm:prSet>
      <dgm:spPr/>
    </dgm:pt>
    <dgm:pt modelId="{8D6F65B0-F372-4186-B00F-9AAB073CADB3}" type="pres">
      <dgm:prSet presAssocID="{63B7EC93-D9F7-4F36-9057-4F29568657EF}" presName="aSpace" presStyleCnt="0"/>
      <dgm:spPr/>
    </dgm:pt>
    <dgm:pt modelId="{F3624040-05ED-4A97-9D9F-E0EA125375A5}" type="pres">
      <dgm:prSet presAssocID="{4C44D62D-44B0-4B61-9146-8BA70140F61B}" presName="aNode" presStyleLbl="fgAcc1" presStyleIdx="2" presStyleCnt="6" custScaleX="128079" custLinFactY="101185" custLinFactNeighborX="6519" custLinFactNeighborY="200000">
        <dgm:presLayoutVars>
          <dgm:bulletEnabled val="1"/>
        </dgm:presLayoutVars>
      </dgm:prSet>
      <dgm:spPr/>
    </dgm:pt>
    <dgm:pt modelId="{A4193E62-B4BA-44F3-A112-4A6648496C67}" type="pres">
      <dgm:prSet presAssocID="{4C44D62D-44B0-4B61-9146-8BA70140F61B}" presName="aSpace" presStyleCnt="0"/>
      <dgm:spPr/>
    </dgm:pt>
    <dgm:pt modelId="{6FB54A14-D8AD-4096-B10A-ED0009F5FF3B}" type="pres">
      <dgm:prSet presAssocID="{787C039E-9695-4197-892B-E689209446F9}" presName="aNode" presStyleLbl="fgAcc1" presStyleIdx="3" presStyleCnt="6" custScaleX="128079" custLinFactY="-93688" custLinFactNeighborX="5215" custLinFactNeighborY="-100000">
        <dgm:presLayoutVars>
          <dgm:bulletEnabled val="1"/>
        </dgm:presLayoutVars>
      </dgm:prSet>
      <dgm:spPr/>
    </dgm:pt>
    <dgm:pt modelId="{502C92D0-4EAF-49DA-9C6B-B01D2473EB8B}" type="pres">
      <dgm:prSet presAssocID="{787C039E-9695-4197-892B-E689209446F9}" presName="aSpace" presStyleCnt="0"/>
      <dgm:spPr/>
    </dgm:pt>
    <dgm:pt modelId="{2C823118-72F2-41D7-ABA7-D398F9E91165}" type="pres">
      <dgm:prSet presAssocID="{EC40DEAD-7E41-4F5D-B83A-13003F8D54DA}" presName="aNode" presStyleLbl="fgAcc1" presStyleIdx="4" presStyleCnt="6" custScaleX="128079" custLinFactY="19959" custLinFactNeighborX="7272" custLinFactNeighborY="100000">
        <dgm:presLayoutVars>
          <dgm:bulletEnabled val="1"/>
        </dgm:presLayoutVars>
      </dgm:prSet>
      <dgm:spPr/>
    </dgm:pt>
    <dgm:pt modelId="{13E849F4-E8F2-4059-B3DA-89947998F447}" type="pres">
      <dgm:prSet presAssocID="{EC40DEAD-7E41-4F5D-B83A-13003F8D54DA}" presName="aSpace" presStyleCnt="0"/>
      <dgm:spPr/>
    </dgm:pt>
    <dgm:pt modelId="{F6A4F5CB-893F-455C-B49F-40E10F469652}" type="pres">
      <dgm:prSet presAssocID="{CA176541-CD50-48F8-BB75-5B5813C5A54C}" presName="aNode" presStyleLbl="fgAcc1" presStyleIdx="5" presStyleCnt="6" custScaleX="128079" custLinFactY="61070" custLinFactNeighborX="8037" custLinFactNeighborY="100000">
        <dgm:presLayoutVars>
          <dgm:bulletEnabled val="1"/>
        </dgm:presLayoutVars>
      </dgm:prSet>
      <dgm:spPr/>
    </dgm:pt>
    <dgm:pt modelId="{0087345B-DCCB-4789-B11F-EAFDF1579861}" type="pres">
      <dgm:prSet presAssocID="{CA176541-CD50-48F8-BB75-5B5813C5A54C}" presName="aSpace" presStyleCnt="0"/>
      <dgm:spPr/>
    </dgm:pt>
  </dgm:ptLst>
  <dgm:cxnLst>
    <dgm:cxn modelId="{036E332E-37E4-4F27-8801-FB3F9DCE3847}" srcId="{5B7BD62B-1205-47B7-9997-90DEB97210A2}" destId="{787C039E-9695-4197-892B-E689209446F9}" srcOrd="3" destOrd="0" parTransId="{427E25DB-AE49-4C48-B72D-E792EFCBA823}" sibTransId="{FB4580A9-8634-4612-8CB0-CC22966D4CCF}"/>
    <dgm:cxn modelId="{61754D41-E9D4-43B2-936B-CED850F74A3B}" srcId="{5B7BD62B-1205-47B7-9997-90DEB97210A2}" destId="{EC40DEAD-7E41-4F5D-B83A-13003F8D54DA}" srcOrd="4" destOrd="0" parTransId="{8D681B01-19C7-46DA-A88C-D9362D8AE86E}" sibTransId="{A0D3A0E2-B16A-4974-8F6A-70886D230EC9}"/>
    <dgm:cxn modelId="{73250547-5B82-4F2B-848A-C3DA18362459}" type="presOf" srcId="{787C039E-9695-4197-892B-E689209446F9}" destId="{6FB54A14-D8AD-4096-B10A-ED0009F5FF3B}" srcOrd="0" destOrd="0" presId="urn:microsoft.com/office/officeart/2005/8/layout/pyramid2"/>
    <dgm:cxn modelId="{D9018F4D-6814-4FC2-8592-9525CF7EF6D6}" type="presOf" srcId="{63B7EC93-D9F7-4F36-9057-4F29568657EF}" destId="{3C30B4E7-5724-4299-9782-DC62B2E39239}" srcOrd="0" destOrd="0" presId="urn:microsoft.com/office/officeart/2005/8/layout/pyramid2"/>
    <dgm:cxn modelId="{912CB371-8939-4F5D-AC8B-0A275ED6A540}" type="presOf" srcId="{CA176541-CD50-48F8-BB75-5B5813C5A54C}" destId="{F6A4F5CB-893F-455C-B49F-40E10F469652}" srcOrd="0" destOrd="0" presId="urn:microsoft.com/office/officeart/2005/8/layout/pyramid2"/>
    <dgm:cxn modelId="{C25C269D-813B-42BE-BB8C-689F350BF16A}" srcId="{5B7BD62B-1205-47B7-9997-90DEB97210A2}" destId="{4C44D62D-44B0-4B61-9146-8BA70140F61B}" srcOrd="2" destOrd="0" parTransId="{E618CF33-A31C-49C6-9661-8B3BC5FE6A18}" sibTransId="{9516AF24-F583-4B4D-875E-86E57CC25F60}"/>
    <dgm:cxn modelId="{B7FBADAA-2AE0-4FEB-BC25-F6C239FC6786}" type="presOf" srcId="{EC40DEAD-7E41-4F5D-B83A-13003F8D54DA}" destId="{2C823118-72F2-41D7-ABA7-D398F9E91165}" srcOrd="0" destOrd="0" presId="urn:microsoft.com/office/officeart/2005/8/layout/pyramid2"/>
    <dgm:cxn modelId="{36627AC5-C3AD-45A6-8A87-C67BAF722403}" srcId="{5B7BD62B-1205-47B7-9997-90DEB97210A2}" destId="{CA176541-CD50-48F8-BB75-5B5813C5A54C}" srcOrd="5" destOrd="0" parTransId="{0A477F30-8B84-482E-B888-AD786E8200AB}" sibTransId="{3AF6D3F8-4676-4F49-9145-79AD065CECF1}"/>
    <dgm:cxn modelId="{39F0DECA-2FBD-4E81-917F-5FBC46092B9A}" srcId="{5B7BD62B-1205-47B7-9997-90DEB97210A2}" destId="{63B7EC93-D9F7-4F36-9057-4F29568657EF}" srcOrd="1" destOrd="0" parTransId="{D0EC9552-815D-40E1-BE8F-EAFDA1463E7A}" sibTransId="{F215F6A9-447F-4576-ACEE-1A996CCBC968}"/>
    <dgm:cxn modelId="{615418CD-DEF9-4E16-B7E3-FFE81037D5E3}" srcId="{5B7BD62B-1205-47B7-9997-90DEB97210A2}" destId="{273B74EC-AF74-45A7-85A5-CB8F316ECCC8}" srcOrd="0" destOrd="0" parTransId="{583F10D7-73BE-4758-A461-85794EFEEE3B}" sibTransId="{6BFF2647-12F5-4E77-82D7-6FA2ADBBDFCE}"/>
    <dgm:cxn modelId="{BD23B9D3-77B4-4CBF-8C8F-3AA851B8FCC7}" type="presOf" srcId="{4C44D62D-44B0-4B61-9146-8BA70140F61B}" destId="{F3624040-05ED-4A97-9D9F-E0EA125375A5}" srcOrd="0" destOrd="0" presId="urn:microsoft.com/office/officeart/2005/8/layout/pyramid2"/>
    <dgm:cxn modelId="{B65C36DB-493A-4BC6-8F00-142330792484}" type="presOf" srcId="{273B74EC-AF74-45A7-85A5-CB8F316ECCC8}" destId="{488892CD-BEF2-4F72-B2F2-06419E622F23}" srcOrd="0" destOrd="0" presId="urn:microsoft.com/office/officeart/2005/8/layout/pyramid2"/>
    <dgm:cxn modelId="{8BE005E6-1421-4FDB-A0F7-F5DE521CB955}" type="presOf" srcId="{5B7BD62B-1205-47B7-9997-90DEB97210A2}" destId="{600F5500-1BD7-4AEA-A145-6E37E4FD0A38}" srcOrd="0" destOrd="0" presId="urn:microsoft.com/office/officeart/2005/8/layout/pyramid2"/>
    <dgm:cxn modelId="{191EF4EA-EB19-452E-AD11-F0353B3A8DE4}" type="presParOf" srcId="{600F5500-1BD7-4AEA-A145-6E37E4FD0A38}" destId="{AB1ACAB2-1808-424E-9879-26740B83C20E}" srcOrd="0" destOrd="0" presId="urn:microsoft.com/office/officeart/2005/8/layout/pyramid2"/>
    <dgm:cxn modelId="{E3612AE1-3D08-4A4E-BC3D-65CEE53C1561}" type="presParOf" srcId="{600F5500-1BD7-4AEA-A145-6E37E4FD0A38}" destId="{8FD49BC3-8F7C-4BE6-93C0-DC3A3F8A1C9F}" srcOrd="1" destOrd="0" presId="urn:microsoft.com/office/officeart/2005/8/layout/pyramid2"/>
    <dgm:cxn modelId="{0D473827-3345-4220-9BAA-A5654232938E}" type="presParOf" srcId="{8FD49BC3-8F7C-4BE6-93C0-DC3A3F8A1C9F}" destId="{488892CD-BEF2-4F72-B2F2-06419E622F23}" srcOrd="0" destOrd="0" presId="urn:microsoft.com/office/officeart/2005/8/layout/pyramid2"/>
    <dgm:cxn modelId="{FCBE5B7A-069A-4F6D-9DCF-C99752CD6A41}" type="presParOf" srcId="{8FD49BC3-8F7C-4BE6-93C0-DC3A3F8A1C9F}" destId="{40DFFED0-7A2F-4AF5-9DDF-9CD3644A714C}" srcOrd="1" destOrd="0" presId="urn:microsoft.com/office/officeart/2005/8/layout/pyramid2"/>
    <dgm:cxn modelId="{7925997C-1CF0-4DA3-9B41-85CD52C56B1A}" type="presParOf" srcId="{8FD49BC3-8F7C-4BE6-93C0-DC3A3F8A1C9F}" destId="{3C30B4E7-5724-4299-9782-DC62B2E39239}" srcOrd="2" destOrd="0" presId="urn:microsoft.com/office/officeart/2005/8/layout/pyramid2"/>
    <dgm:cxn modelId="{2A88DAB5-5D35-494D-BCDD-48A81FE80BF7}" type="presParOf" srcId="{8FD49BC3-8F7C-4BE6-93C0-DC3A3F8A1C9F}" destId="{8D6F65B0-F372-4186-B00F-9AAB073CADB3}" srcOrd="3" destOrd="0" presId="urn:microsoft.com/office/officeart/2005/8/layout/pyramid2"/>
    <dgm:cxn modelId="{972C470D-90EB-40E2-A323-359F1E9E8C37}" type="presParOf" srcId="{8FD49BC3-8F7C-4BE6-93C0-DC3A3F8A1C9F}" destId="{F3624040-05ED-4A97-9D9F-E0EA125375A5}" srcOrd="4" destOrd="0" presId="urn:microsoft.com/office/officeart/2005/8/layout/pyramid2"/>
    <dgm:cxn modelId="{F124FBFA-E83F-4A48-BB12-ECA9A189D107}" type="presParOf" srcId="{8FD49BC3-8F7C-4BE6-93C0-DC3A3F8A1C9F}" destId="{A4193E62-B4BA-44F3-A112-4A6648496C67}" srcOrd="5" destOrd="0" presId="urn:microsoft.com/office/officeart/2005/8/layout/pyramid2"/>
    <dgm:cxn modelId="{CBCBD93B-F3CB-4ABA-80D8-703C9E63BECF}" type="presParOf" srcId="{8FD49BC3-8F7C-4BE6-93C0-DC3A3F8A1C9F}" destId="{6FB54A14-D8AD-4096-B10A-ED0009F5FF3B}" srcOrd="6" destOrd="0" presId="urn:microsoft.com/office/officeart/2005/8/layout/pyramid2"/>
    <dgm:cxn modelId="{ED954F82-5731-454D-AE1D-8FE472FBF904}" type="presParOf" srcId="{8FD49BC3-8F7C-4BE6-93C0-DC3A3F8A1C9F}" destId="{502C92D0-4EAF-49DA-9C6B-B01D2473EB8B}" srcOrd="7" destOrd="0" presId="urn:microsoft.com/office/officeart/2005/8/layout/pyramid2"/>
    <dgm:cxn modelId="{E9AC73FD-FA1E-4BED-A6CB-89B7425844EA}" type="presParOf" srcId="{8FD49BC3-8F7C-4BE6-93C0-DC3A3F8A1C9F}" destId="{2C823118-72F2-41D7-ABA7-D398F9E91165}" srcOrd="8" destOrd="0" presId="urn:microsoft.com/office/officeart/2005/8/layout/pyramid2"/>
    <dgm:cxn modelId="{E5C1319D-E0F5-4BF7-A945-0D9CA9139B58}" type="presParOf" srcId="{8FD49BC3-8F7C-4BE6-93C0-DC3A3F8A1C9F}" destId="{13E849F4-E8F2-4059-B3DA-89947998F447}" srcOrd="9" destOrd="0" presId="urn:microsoft.com/office/officeart/2005/8/layout/pyramid2"/>
    <dgm:cxn modelId="{B59F1F2E-C721-4B78-8918-C0A70C58B942}" type="presParOf" srcId="{8FD49BC3-8F7C-4BE6-93C0-DC3A3F8A1C9F}" destId="{F6A4F5CB-893F-455C-B49F-40E10F469652}" srcOrd="10" destOrd="0" presId="urn:microsoft.com/office/officeart/2005/8/layout/pyramid2"/>
    <dgm:cxn modelId="{B91A8489-0EFC-468F-A666-39344FC77429}" type="presParOf" srcId="{8FD49BC3-8F7C-4BE6-93C0-DC3A3F8A1C9F}" destId="{0087345B-DCCB-4789-B11F-EAFDF1579861}" srcOrd="1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043A2D-AC0D-45DA-A430-4A2929065D5E}">
      <dsp:nvSpPr>
        <dsp:cNvPr id="0" name=""/>
        <dsp:cNvSpPr/>
      </dsp:nvSpPr>
      <dsp:spPr>
        <a:xfrm>
          <a:off x="0" y="237707"/>
          <a:ext cx="2899010" cy="5103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995" tIns="249936" rIns="22499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30 фактор 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химиялық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,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физикалық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,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биологиялық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,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психофизиологиялық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)</a:t>
          </a:r>
          <a:endParaRPr lang="ru-RU" sz="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237707"/>
        <a:ext cx="2899010" cy="510300"/>
      </dsp:txXfrm>
    </dsp:sp>
    <dsp:sp modelId="{CA1661FE-6B6B-4FEB-94D1-EDEB54B44CEA}">
      <dsp:nvSpPr>
        <dsp:cNvPr id="0" name=""/>
        <dsp:cNvSpPr/>
      </dsp:nvSpPr>
      <dsp:spPr>
        <a:xfrm>
          <a:off x="144950" y="60587"/>
          <a:ext cx="2029307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03" tIns="0" rIns="76703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latin typeface="Arial" panose="020B0604020202020204" pitchFamily="34" charset="0"/>
              <a:cs typeface="Arial" panose="020B0604020202020204" pitchFamily="34" charset="0"/>
            </a:rPr>
            <a:t>З -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зиянды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еңбек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жағдайларының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көрсеткіші</a:t>
          </a:r>
          <a:endParaRPr lang="ru-RU" sz="9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62243" y="77880"/>
        <a:ext cx="1994721" cy="319654"/>
      </dsp:txXfrm>
    </dsp:sp>
    <dsp:sp modelId="{04919FCD-F9A7-41FC-9364-5B44487C2098}">
      <dsp:nvSpPr>
        <dsp:cNvPr id="0" name=""/>
        <dsp:cNvSpPr/>
      </dsp:nvSpPr>
      <dsp:spPr>
        <a:xfrm>
          <a:off x="0" y="989927"/>
          <a:ext cx="2899010" cy="415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995" tIns="249936" rIns="22499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10 фактор (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механикалық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)</a:t>
          </a:r>
        </a:p>
      </dsp:txBody>
      <dsp:txXfrm>
        <a:off x="0" y="989927"/>
        <a:ext cx="2899010" cy="415800"/>
      </dsp:txXfrm>
    </dsp:sp>
    <dsp:sp modelId="{FC8D12F6-91BA-4E5C-ACE4-284BF996CFCA}">
      <dsp:nvSpPr>
        <dsp:cNvPr id="0" name=""/>
        <dsp:cNvSpPr/>
      </dsp:nvSpPr>
      <dsp:spPr>
        <a:xfrm>
          <a:off x="144950" y="812807"/>
          <a:ext cx="2029307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03" tIns="0" rIns="76703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latin typeface="Arial" panose="020B0604020202020204" pitchFamily="34" charset="0"/>
              <a:cs typeface="Arial" panose="020B0604020202020204" pitchFamily="34" charset="0"/>
            </a:rPr>
            <a:t>Е</a:t>
          </a:r>
          <a:r>
            <a:rPr lang="ru-RU" sz="900" kern="12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еңбек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жағдайларының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жарақаттану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қауіптілігінің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көрсеткіші</a:t>
          </a:r>
          <a:endParaRPr lang="ru-RU" sz="9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62243" y="830100"/>
        <a:ext cx="1994721" cy="319654"/>
      </dsp:txXfrm>
    </dsp:sp>
    <dsp:sp modelId="{D965B1B7-7894-4057-8B72-7020A88963AC}">
      <dsp:nvSpPr>
        <dsp:cNvPr id="0" name=""/>
        <dsp:cNvSpPr/>
      </dsp:nvSpPr>
      <dsp:spPr>
        <a:xfrm>
          <a:off x="0" y="1647647"/>
          <a:ext cx="2899010" cy="415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995" tIns="249936" rIns="22499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10 фактор 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құжаттық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және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визуалды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бағалау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)</a:t>
          </a:r>
        </a:p>
      </dsp:txBody>
      <dsp:txXfrm>
        <a:off x="0" y="1647647"/>
        <a:ext cx="2899010" cy="415800"/>
      </dsp:txXfrm>
    </dsp:sp>
    <dsp:sp modelId="{437A16E6-9F9F-4F70-BC33-B45BCEE905BC}">
      <dsp:nvSpPr>
        <dsp:cNvPr id="0" name=""/>
        <dsp:cNvSpPr/>
      </dsp:nvSpPr>
      <dsp:spPr>
        <a:xfrm>
          <a:off x="144950" y="1470527"/>
          <a:ext cx="2029307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03" tIns="0" rIns="76703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 err="1">
              <a:latin typeface="Arial" panose="020B0604020202020204" pitchFamily="34" charset="0"/>
              <a:cs typeface="Arial" panose="020B0604020202020204" pitchFamily="34" charset="0"/>
            </a:rPr>
            <a:t>Жб</a:t>
          </a:r>
          <a:r>
            <a:rPr lang="ru-RU" sz="900" b="1" kern="12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жабдықтың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қауіпсіздік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көрсеткіші</a:t>
          </a:r>
          <a:endParaRPr lang="ru-RU" sz="9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62243" y="1487820"/>
        <a:ext cx="1994721" cy="319654"/>
      </dsp:txXfrm>
    </dsp:sp>
    <dsp:sp modelId="{23734018-6D38-4A6A-8D9D-5F5B1A618520}">
      <dsp:nvSpPr>
        <dsp:cNvPr id="0" name=""/>
        <dsp:cNvSpPr/>
      </dsp:nvSpPr>
      <dsp:spPr>
        <a:xfrm>
          <a:off x="0" y="2305367"/>
          <a:ext cx="2899010" cy="5103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995" tIns="249936" rIns="22499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3 критерий 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сапа сертификаты,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нормаға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сәйкестігі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,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техникалық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құжаттаманың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болуы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)</a:t>
          </a:r>
        </a:p>
      </dsp:txBody>
      <dsp:txXfrm>
        <a:off x="0" y="2305367"/>
        <a:ext cx="2899010" cy="510300"/>
      </dsp:txXfrm>
    </dsp:sp>
    <dsp:sp modelId="{03E9823F-CC22-453F-A0ED-E44531248454}">
      <dsp:nvSpPr>
        <dsp:cNvPr id="0" name=""/>
        <dsp:cNvSpPr/>
      </dsp:nvSpPr>
      <dsp:spPr>
        <a:xfrm>
          <a:off x="144950" y="2128247"/>
          <a:ext cx="2029307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03" tIns="0" rIns="76703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latin typeface="Arial" panose="020B0604020202020204" pitchFamily="34" charset="0"/>
              <a:cs typeface="Arial" panose="020B0604020202020204" pitchFamily="34" charset="0"/>
            </a:rPr>
            <a:t>ЖҚҚ</a:t>
          </a:r>
          <a:r>
            <a:rPr lang="ru-RU" sz="900" kern="12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қамтамасыз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ету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көрсеткіші</a:t>
          </a:r>
          <a:endParaRPr lang="ru-RU" sz="9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62243" y="2145540"/>
        <a:ext cx="1994721" cy="319654"/>
      </dsp:txXfrm>
    </dsp:sp>
    <dsp:sp modelId="{4606ABA5-9E96-4675-8373-B6BEE5D9A0F4}">
      <dsp:nvSpPr>
        <dsp:cNvPr id="0" name=""/>
        <dsp:cNvSpPr/>
      </dsp:nvSpPr>
      <dsp:spPr>
        <a:xfrm>
          <a:off x="0" y="3057587"/>
          <a:ext cx="2899010" cy="604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995" tIns="249936" rIns="22499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Критерийлер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және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медициналық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тексеру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зиянды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еңбек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жағдайларының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ұзақтығы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,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жедел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респираторлық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вирустық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инфекция,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созылмалы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ru-RU" sz="700" kern="1200" dirty="0" err="1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аурулар</a:t>
          </a:r>
          <a:r>
            <a:rPr lang="ru-RU" sz="7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)</a:t>
          </a:r>
        </a:p>
      </dsp:txBody>
      <dsp:txXfrm>
        <a:off x="0" y="3057587"/>
        <a:ext cx="2899010" cy="604800"/>
      </dsp:txXfrm>
    </dsp:sp>
    <dsp:sp modelId="{17D90311-B1DD-4731-A186-C0F30C76B4D5}">
      <dsp:nvSpPr>
        <dsp:cNvPr id="0" name=""/>
        <dsp:cNvSpPr/>
      </dsp:nvSpPr>
      <dsp:spPr>
        <a:xfrm>
          <a:off x="144950" y="2880467"/>
          <a:ext cx="2029307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03" tIns="0" rIns="76703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latin typeface="Arial" panose="020B0604020202020204" pitchFamily="34" charset="0"/>
              <a:cs typeface="Arial" panose="020B0604020202020204" pitchFamily="34" charset="0"/>
            </a:rPr>
            <a:t>С</a:t>
          </a:r>
          <a:r>
            <a:rPr lang="ru-RU" sz="900" kern="12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сырқаттанушылық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kern="1200" dirty="0" err="1">
              <a:latin typeface="Arial" panose="020B0604020202020204" pitchFamily="34" charset="0"/>
              <a:cs typeface="Arial" panose="020B0604020202020204" pitchFamily="34" charset="0"/>
            </a:rPr>
            <a:t>көрсеткіші</a:t>
          </a:r>
          <a:endParaRPr lang="ru-RU" sz="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62243" y="2897760"/>
        <a:ext cx="1994721" cy="31965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F1AEC7-D75C-4AF1-AEDA-0DE490F9831F}">
      <dsp:nvSpPr>
        <dsp:cNvPr id="0" name=""/>
        <dsp:cNvSpPr/>
      </dsp:nvSpPr>
      <dsp:spPr>
        <a:xfrm>
          <a:off x="0" y="411"/>
          <a:ext cx="3033942" cy="6228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САЛА</a:t>
          </a:r>
        </a:p>
      </dsp:txBody>
      <dsp:txXfrm>
        <a:off x="18244" y="18655"/>
        <a:ext cx="2309157" cy="586405"/>
      </dsp:txXfrm>
    </dsp:sp>
    <dsp:sp modelId="{59720FFC-2C16-4101-995E-44982E42F21D}">
      <dsp:nvSpPr>
        <dsp:cNvPr id="0" name=""/>
        <dsp:cNvSpPr/>
      </dsp:nvSpPr>
      <dsp:spPr>
        <a:xfrm>
          <a:off x="254092" y="736146"/>
          <a:ext cx="3033942" cy="6228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КӘСІП</a:t>
          </a:r>
        </a:p>
      </dsp:txBody>
      <dsp:txXfrm>
        <a:off x="272336" y="754390"/>
        <a:ext cx="2338480" cy="586405"/>
      </dsp:txXfrm>
    </dsp:sp>
    <dsp:sp modelId="{F06035E9-394F-49C2-BA79-1B54FF412F36}">
      <dsp:nvSpPr>
        <dsp:cNvPr id="0" name=""/>
        <dsp:cNvSpPr/>
      </dsp:nvSpPr>
      <dsp:spPr>
        <a:xfrm>
          <a:off x="504392" y="1472293"/>
          <a:ext cx="3033942" cy="6228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ЖҚҚ </a:t>
          </a:r>
        </a:p>
      </dsp:txBody>
      <dsp:txXfrm>
        <a:off x="522636" y="1490537"/>
        <a:ext cx="2342273" cy="586405"/>
      </dsp:txXfrm>
    </dsp:sp>
    <dsp:sp modelId="{0B3E64BA-49C5-4D99-9307-3369393A43E0}">
      <dsp:nvSpPr>
        <dsp:cNvPr id="0" name=""/>
        <dsp:cNvSpPr/>
      </dsp:nvSpPr>
      <dsp:spPr>
        <a:xfrm>
          <a:off x="758485" y="2208440"/>
          <a:ext cx="3033942" cy="6228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НОРМА ЖӘНЕ МЕРЗІМ</a:t>
          </a:r>
        </a:p>
      </dsp:txBody>
      <dsp:txXfrm>
        <a:off x="776729" y="2226684"/>
        <a:ext cx="2338480" cy="586405"/>
      </dsp:txXfrm>
    </dsp:sp>
    <dsp:sp modelId="{51B3314C-B657-44E2-B979-6DAE3A849E7D}">
      <dsp:nvSpPr>
        <dsp:cNvPr id="0" name=""/>
        <dsp:cNvSpPr/>
      </dsp:nvSpPr>
      <dsp:spPr>
        <a:xfrm>
          <a:off x="2629061" y="477079"/>
          <a:ext cx="404880" cy="404880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b="1" kern="1200">
            <a:solidFill>
              <a:schemeClr val="accent5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720159" y="477079"/>
        <a:ext cx="222684" cy="304672"/>
      </dsp:txXfrm>
    </dsp:sp>
    <dsp:sp modelId="{EB0F5A76-750B-4579-A800-D273C407E351}">
      <dsp:nvSpPr>
        <dsp:cNvPr id="0" name=""/>
        <dsp:cNvSpPr/>
      </dsp:nvSpPr>
      <dsp:spPr>
        <a:xfrm>
          <a:off x="2883154" y="1213226"/>
          <a:ext cx="404880" cy="404880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400" b="1" kern="1200">
            <a:solidFill>
              <a:schemeClr val="accent5">
                <a:lumMod val="50000"/>
              </a:schemeClr>
            </a:solidFill>
          </a:endParaRPr>
        </a:p>
      </dsp:txBody>
      <dsp:txXfrm>
        <a:off x="2974252" y="1213226"/>
        <a:ext cx="222684" cy="304672"/>
      </dsp:txXfrm>
    </dsp:sp>
    <dsp:sp modelId="{A1E1E3D8-BEB2-46B1-939E-0AF95497BDE4}">
      <dsp:nvSpPr>
        <dsp:cNvPr id="0" name=""/>
        <dsp:cNvSpPr/>
      </dsp:nvSpPr>
      <dsp:spPr>
        <a:xfrm>
          <a:off x="3133454" y="1949373"/>
          <a:ext cx="404880" cy="404880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b="1" kern="1200">
            <a:solidFill>
              <a:schemeClr val="accent5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224552" y="1949373"/>
        <a:ext cx="222684" cy="30467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F1AEC7-D75C-4AF1-AEDA-0DE490F9831F}">
      <dsp:nvSpPr>
        <dsp:cNvPr id="0" name=""/>
        <dsp:cNvSpPr/>
      </dsp:nvSpPr>
      <dsp:spPr>
        <a:xfrm>
          <a:off x="0" y="0"/>
          <a:ext cx="3033942" cy="6228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 err="1">
              <a:latin typeface="Arial" panose="020B0604020202020204" pitchFamily="34" charset="0"/>
              <a:cs typeface="Arial" panose="020B0604020202020204" pitchFamily="34" charset="0"/>
            </a:rPr>
            <a:t>Экономикалық</a:t>
          </a:r>
          <a:r>
            <a:rPr lang="ru-RU" sz="12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b="1" kern="1200" dirty="0" err="1">
              <a:latin typeface="Arial" panose="020B0604020202020204" pitchFamily="34" charset="0"/>
              <a:cs typeface="Arial" panose="020B0604020202020204" pitchFamily="34" charset="0"/>
            </a:rPr>
            <a:t>қызмет</a:t>
          </a:r>
          <a:r>
            <a:rPr lang="ru-RU" sz="12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b="1" kern="1200" dirty="0" err="1">
              <a:latin typeface="Arial" panose="020B0604020202020204" pitchFamily="34" charset="0"/>
              <a:cs typeface="Arial" panose="020B0604020202020204" pitchFamily="34" charset="0"/>
            </a:rPr>
            <a:t>түрі</a:t>
          </a:r>
          <a:endParaRPr lang="ru-KZ" sz="12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244" y="18244"/>
        <a:ext cx="2309157" cy="586405"/>
      </dsp:txXfrm>
    </dsp:sp>
    <dsp:sp modelId="{59720FFC-2C16-4101-995E-44982E42F21D}">
      <dsp:nvSpPr>
        <dsp:cNvPr id="0" name=""/>
        <dsp:cNvSpPr/>
      </dsp:nvSpPr>
      <dsp:spPr>
        <a:xfrm>
          <a:off x="254092" y="736146"/>
          <a:ext cx="3033942" cy="6228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 err="1">
              <a:latin typeface="Arial" panose="020B0604020202020204" pitchFamily="34" charset="0"/>
              <a:cs typeface="Arial" panose="020B0604020202020204" pitchFamily="34" charset="0"/>
            </a:rPr>
            <a:t>Кәсіптік</a:t>
          </a:r>
          <a:r>
            <a:rPr lang="ru-RU" sz="12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b="1" kern="1200" dirty="0" err="1">
              <a:latin typeface="Arial" panose="020B0604020202020204" pitchFamily="34" charset="0"/>
              <a:cs typeface="Arial" panose="020B0604020202020204" pitchFamily="34" charset="0"/>
            </a:rPr>
            <a:t>тәуекел</a:t>
          </a:r>
          <a:r>
            <a:rPr lang="ru-RU" sz="12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b="1" kern="1200" dirty="0" err="1">
              <a:latin typeface="Arial" panose="020B0604020202020204" pitchFamily="34" charset="0"/>
              <a:cs typeface="Arial" panose="020B0604020202020204" pitchFamily="34" charset="0"/>
            </a:rPr>
            <a:t>сыныбы</a:t>
          </a:r>
          <a:endParaRPr lang="ru-KZ" sz="12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72336" y="754390"/>
        <a:ext cx="2338480" cy="586405"/>
      </dsp:txXfrm>
    </dsp:sp>
    <dsp:sp modelId="{F06035E9-394F-49C2-BA79-1B54FF412F36}">
      <dsp:nvSpPr>
        <dsp:cNvPr id="0" name=""/>
        <dsp:cNvSpPr/>
      </dsp:nvSpPr>
      <dsp:spPr>
        <a:xfrm>
          <a:off x="504392" y="1472293"/>
          <a:ext cx="3033942" cy="6228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k-KZ" sz="1200" b="1" kern="1200" spc="-10" dirty="0">
              <a:latin typeface="Arial" panose="020B0604020202020204" pitchFamily="34" charset="0"/>
              <a:cs typeface="Arial" panose="020B0604020202020204" pitchFamily="34" charset="0"/>
            </a:rPr>
            <a:t>Сақтандыру</a:t>
          </a:r>
          <a:r>
            <a:rPr lang="kk-KZ" sz="1200" b="1" kern="1200" spc="-5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kk-KZ" sz="1200" b="1" kern="1200" spc="-5" dirty="0">
              <a:latin typeface="Arial" panose="020B0604020202020204" pitchFamily="34" charset="0"/>
              <a:cs typeface="Arial" panose="020B0604020202020204" pitchFamily="34" charset="0"/>
            </a:rPr>
            <a:t>тарифі</a:t>
          </a:r>
          <a:endParaRPr lang="ru-RU" sz="12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22636" y="1490537"/>
        <a:ext cx="2342273" cy="586405"/>
      </dsp:txXfrm>
    </dsp:sp>
    <dsp:sp modelId="{0B3E64BA-49C5-4D99-9307-3369393A43E0}">
      <dsp:nvSpPr>
        <dsp:cNvPr id="0" name=""/>
        <dsp:cNvSpPr/>
      </dsp:nvSpPr>
      <dsp:spPr>
        <a:xfrm>
          <a:off x="758485" y="2208440"/>
          <a:ext cx="3033942" cy="6228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b="1" kern="1200" dirty="0" err="1">
              <a:latin typeface="Arial" panose="020B0604020202020204" pitchFamily="34" charset="0"/>
              <a:cs typeface="Arial" panose="020B0604020202020204" pitchFamily="34" charset="0"/>
            </a:rPr>
            <a:t>Жазатайым</a:t>
          </a:r>
          <a:r>
            <a:rPr lang="ru-RU" sz="11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kern="1200" dirty="0" err="1">
              <a:latin typeface="Arial" panose="020B0604020202020204" pitchFamily="34" charset="0"/>
              <a:cs typeface="Arial" panose="020B0604020202020204" pitchFamily="34" charset="0"/>
            </a:rPr>
            <a:t>оқиғалардың</a:t>
          </a:r>
          <a:r>
            <a:rPr lang="ru-RU" sz="11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kern="1200" dirty="0" err="1">
              <a:latin typeface="Arial" panose="020B0604020202020204" pitchFamily="34" charset="0"/>
              <a:cs typeface="Arial" panose="020B0604020202020204" pitchFamily="34" charset="0"/>
            </a:rPr>
            <a:t>салдарынан</a:t>
          </a:r>
          <a:r>
            <a:rPr lang="ru-RU" sz="11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kern="1200" dirty="0" err="1">
              <a:latin typeface="Arial" panose="020B0604020202020204" pitchFamily="34" charset="0"/>
              <a:cs typeface="Arial" panose="020B0604020202020204" pitchFamily="34" charset="0"/>
            </a:rPr>
            <a:t>зардап</a:t>
          </a:r>
          <a:r>
            <a:rPr lang="ru-RU" sz="11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kern="1200" dirty="0" err="1">
              <a:latin typeface="Arial" panose="020B0604020202020204" pitchFamily="34" charset="0"/>
              <a:cs typeface="Arial" panose="020B0604020202020204" pitchFamily="34" charset="0"/>
            </a:rPr>
            <a:t>шеккендердің</a:t>
          </a:r>
          <a:r>
            <a:rPr lang="ru-RU" sz="11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kern="1200" dirty="0" err="1">
              <a:latin typeface="Arial" panose="020B0604020202020204" pitchFamily="34" charset="0"/>
              <a:cs typeface="Arial" panose="020B0604020202020204" pitchFamily="34" charset="0"/>
            </a:rPr>
            <a:t>санын</a:t>
          </a:r>
          <a:r>
            <a:rPr lang="ru-RU" sz="11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kern="1200" dirty="0" err="1">
              <a:latin typeface="Arial" panose="020B0604020202020204" pitchFamily="34" charset="0"/>
              <a:cs typeface="Arial" panose="020B0604020202020204" pitchFamily="34" charset="0"/>
            </a:rPr>
            <a:t>ескере</a:t>
          </a:r>
          <a:r>
            <a:rPr lang="ru-RU" sz="11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kern="1200" dirty="0" err="1">
              <a:latin typeface="Arial" panose="020B0604020202020204" pitchFamily="34" charset="0"/>
              <a:cs typeface="Arial" panose="020B0604020202020204" pitchFamily="34" charset="0"/>
            </a:rPr>
            <a:t>отырып</a:t>
          </a:r>
          <a:r>
            <a:rPr lang="ru-RU" sz="11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kern="1200" dirty="0" err="1">
              <a:latin typeface="Arial" panose="020B0604020202020204" pitchFamily="34" charset="0"/>
              <a:cs typeface="Arial" panose="020B0604020202020204" pitchFamily="34" charset="0"/>
            </a:rPr>
            <a:t>түзету</a:t>
          </a:r>
          <a:r>
            <a:rPr lang="ru-RU" sz="11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kern="1200" dirty="0" err="1">
              <a:latin typeface="Arial" panose="020B0604020202020204" pitchFamily="34" charset="0"/>
              <a:cs typeface="Arial" panose="020B0604020202020204" pitchFamily="34" charset="0"/>
            </a:rPr>
            <a:t>коэффициенті</a:t>
          </a:r>
          <a:endParaRPr lang="ru-RU" sz="11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76729" y="2226684"/>
        <a:ext cx="2338480" cy="586405"/>
      </dsp:txXfrm>
    </dsp:sp>
    <dsp:sp modelId="{51B3314C-B657-44E2-B979-6DAE3A849E7D}">
      <dsp:nvSpPr>
        <dsp:cNvPr id="0" name=""/>
        <dsp:cNvSpPr/>
      </dsp:nvSpPr>
      <dsp:spPr>
        <a:xfrm>
          <a:off x="2629061" y="477079"/>
          <a:ext cx="404880" cy="404880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720159" y="477079"/>
        <a:ext cx="222684" cy="304672"/>
      </dsp:txXfrm>
    </dsp:sp>
    <dsp:sp modelId="{EB0F5A76-750B-4579-A800-D273C407E351}">
      <dsp:nvSpPr>
        <dsp:cNvPr id="0" name=""/>
        <dsp:cNvSpPr/>
      </dsp:nvSpPr>
      <dsp:spPr>
        <a:xfrm>
          <a:off x="2883154" y="1213226"/>
          <a:ext cx="404880" cy="404880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800" b="1" kern="1200"/>
        </a:p>
      </dsp:txBody>
      <dsp:txXfrm>
        <a:off x="2974252" y="1213226"/>
        <a:ext cx="222684" cy="304672"/>
      </dsp:txXfrm>
    </dsp:sp>
    <dsp:sp modelId="{A1E1E3D8-BEB2-46B1-939E-0AF95497BDE4}">
      <dsp:nvSpPr>
        <dsp:cNvPr id="0" name=""/>
        <dsp:cNvSpPr/>
      </dsp:nvSpPr>
      <dsp:spPr>
        <a:xfrm>
          <a:off x="3133454" y="1949373"/>
          <a:ext cx="404880" cy="404880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224552" y="1949373"/>
        <a:ext cx="222684" cy="30467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FB431E-AEDC-4099-8B29-C7482947A436}">
      <dsp:nvSpPr>
        <dsp:cNvPr id="0" name=""/>
        <dsp:cNvSpPr/>
      </dsp:nvSpPr>
      <dsp:spPr>
        <a:xfrm>
          <a:off x="0" y="0"/>
          <a:ext cx="3223563" cy="8494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spc="-5" dirty="0" err="1">
              <a:latin typeface="Arial" panose="020B0604020202020204" pitchFamily="34" charset="0"/>
              <a:cs typeface="Arial" panose="020B0604020202020204" pitchFamily="34" charset="0"/>
            </a:rPr>
            <a:t>Экономикалық</a:t>
          </a:r>
          <a:r>
            <a:rPr lang="ru-RU" sz="1400" b="1" kern="1200" spc="-5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400" b="1" kern="1200" spc="-5" dirty="0" err="1">
              <a:latin typeface="Arial" panose="020B0604020202020204" pitchFamily="34" charset="0"/>
              <a:cs typeface="Arial" panose="020B0604020202020204" pitchFamily="34" charset="0"/>
            </a:rPr>
            <a:t>қызмет</a:t>
          </a:r>
          <a:r>
            <a:rPr lang="ru-RU" sz="1400" b="1" kern="1200" spc="-5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400" b="1" kern="1200" spc="-5" dirty="0" err="1">
              <a:latin typeface="Arial" panose="020B0604020202020204" pitchFamily="34" charset="0"/>
              <a:cs typeface="Arial" panose="020B0604020202020204" pitchFamily="34" charset="0"/>
            </a:rPr>
            <a:t>түрі</a:t>
          </a:r>
          <a:endParaRPr lang="ru-RU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4878" y="24878"/>
        <a:ext cx="2306994" cy="799644"/>
      </dsp:txXfrm>
    </dsp:sp>
    <dsp:sp modelId="{04B03D88-2F6D-47E4-B0DA-8DF94F5C4321}">
      <dsp:nvSpPr>
        <dsp:cNvPr id="0" name=""/>
        <dsp:cNvSpPr/>
      </dsp:nvSpPr>
      <dsp:spPr>
        <a:xfrm>
          <a:off x="284432" y="990966"/>
          <a:ext cx="3223563" cy="8494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k-KZ" sz="1400" b="1" kern="1200" spc="-10" dirty="0">
              <a:latin typeface="Arial" panose="020B0604020202020204" pitchFamily="34" charset="0"/>
              <a:cs typeface="Arial" panose="020B0604020202020204" pitchFamily="34" charset="0"/>
            </a:rPr>
            <a:t>Мамандық, жұмыс түрі</a:t>
          </a:r>
          <a:endParaRPr lang="ru-RU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09310" y="1015844"/>
        <a:ext cx="2337265" cy="799644"/>
      </dsp:txXfrm>
    </dsp:sp>
    <dsp:sp modelId="{FE162E05-2758-46C0-86A1-89B77D64B2CA}">
      <dsp:nvSpPr>
        <dsp:cNvPr id="0" name=""/>
        <dsp:cNvSpPr/>
      </dsp:nvSpPr>
      <dsp:spPr>
        <a:xfrm>
          <a:off x="568864" y="1981933"/>
          <a:ext cx="3223563" cy="8494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spc="-5" dirty="0" err="1">
              <a:latin typeface="Arial" panose="020B0604020202020204" pitchFamily="34" charset="0"/>
              <a:cs typeface="Arial" panose="020B0604020202020204" pitchFamily="34" charset="0"/>
            </a:rPr>
            <a:t>Әлеуметтік</a:t>
          </a:r>
          <a:r>
            <a:rPr lang="ru-RU" sz="1400" b="1" kern="1200" spc="-5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400" b="1" kern="1200" spc="-5" dirty="0" err="1">
              <a:latin typeface="Arial" panose="020B0604020202020204" pitchFamily="34" charset="0"/>
              <a:cs typeface="Arial" panose="020B0604020202020204" pitchFamily="34" charset="0"/>
            </a:rPr>
            <a:t>кепілдіктің</a:t>
          </a:r>
          <a:r>
            <a:rPr lang="ru-RU" sz="1400" b="1" kern="1200" spc="-5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400" b="1" kern="1200" spc="-5" dirty="0" err="1">
              <a:latin typeface="Arial" panose="020B0604020202020204" pitchFamily="34" charset="0"/>
              <a:cs typeface="Arial" panose="020B0604020202020204" pitchFamily="34" charset="0"/>
            </a:rPr>
            <a:t>түрі</a:t>
          </a:r>
          <a:r>
            <a:rPr lang="ru-RU" sz="1400" b="1" kern="1200" spc="-5" dirty="0">
              <a:latin typeface="Arial" panose="020B0604020202020204" pitchFamily="34" charset="0"/>
              <a:cs typeface="Arial" panose="020B0604020202020204" pitchFamily="34" charset="0"/>
            </a:rPr>
            <a:t> мен </a:t>
          </a:r>
          <a:r>
            <a:rPr lang="ru-RU" sz="1400" b="1" kern="1200" spc="-5" dirty="0" err="1">
              <a:latin typeface="Arial" panose="020B0604020202020204" pitchFamily="34" charset="0"/>
              <a:cs typeface="Arial" panose="020B0604020202020204" pitchFamily="34" charset="0"/>
            </a:rPr>
            <a:t>көлемі</a:t>
          </a:r>
          <a:endParaRPr lang="ru-RU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93742" y="2006811"/>
        <a:ext cx="2337265" cy="799644"/>
      </dsp:txXfrm>
    </dsp:sp>
    <dsp:sp modelId="{88AAF558-22BE-4D9A-8A3C-F153D083554B}">
      <dsp:nvSpPr>
        <dsp:cNvPr id="0" name=""/>
        <dsp:cNvSpPr/>
      </dsp:nvSpPr>
      <dsp:spPr>
        <a:xfrm>
          <a:off x="2671453" y="644128"/>
          <a:ext cx="552110" cy="552110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b="1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795678" y="644128"/>
        <a:ext cx="303660" cy="415463"/>
      </dsp:txXfrm>
    </dsp:sp>
    <dsp:sp modelId="{9F9415B8-B9E7-4E68-85CB-1AAAA35388F3}">
      <dsp:nvSpPr>
        <dsp:cNvPr id="0" name=""/>
        <dsp:cNvSpPr/>
      </dsp:nvSpPr>
      <dsp:spPr>
        <a:xfrm>
          <a:off x="2955885" y="1629432"/>
          <a:ext cx="552110" cy="552110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3200" b="1" kern="1200"/>
        </a:p>
      </dsp:txBody>
      <dsp:txXfrm>
        <a:off x="3080110" y="1629432"/>
        <a:ext cx="303660" cy="41546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1ACAB2-1808-424E-9879-26740B83C20E}">
      <dsp:nvSpPr>
        <dsp:cNvPr id="0" name=""/>
        <dsp:cNvSpPr/>
      </dsp:nvSpPr>
      <dsp:spPr>
        <a:xfrm rot="10800000">
          <a:off x="465556" y="0"/>
          <a:ext cx="2823235" cy="3110523"/>
        </a:xfrm>
        <a:prstGeom prst="triangle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8892CD-BEF2-4F72-B2F2-06419E622F23}">
      <dsp:nvSpPr>
        <dsp:cNvPr id="0" name=""/>
        <dsp:cNvSpPr/>
      </dsp:nvSpPr>
      <dsp:spPr>
        <a:xfrm>
          <a:off x="16392" y="299132"/>
          <a:ext cx="2395611" cy="368159"/>
        </a:xfrm>
        <a:prstGeom prst="roundRect">
          <a:avLst/>
        </a:prstGeom>
        <a:solidFill>
          <a:srgbClr val="FF0000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b="1" i="0" u="none" kern="1200" dirty="0" err="1">
              <a:solidFill>
                <a:schemeClr val="bg1"/>
              </a:solidFill>
            </a:rPr>
            <a:t>Кәсіби</a:t>
          </a:r>
          <a:r>
            <a:rPr lang="ru-RU" sz="1000" b="1" i="0" u="none" kern="1200" dirty="0">
              <a:solidFill>
                <a:schemeClr val="bg1"/>
              </a:solidFill>
            </a:rPr>
            <a:t> </a:t>
          </a:r>
          <a:r>
            <a:rPr lang="ru-RU" sz="1000" b="1" i="0" u="none" kern="1200" dirty="0" err="1">
              <a:solidFill>
                <a:schemeClr val="bg1"/>
              </a:solidFill>
            </a:rPr>
            <a:t>еңбекақы</a:t>
          </a:r>
          <a:r>
            <a:rPr lang="ru-RU" sz="1000" b="1" i="0" u="none" kern="1200" dirty="0">
              <a:solidFill>
                <a:schemeClr val="bg1"/>
              </a:solidFill>
            </a:rPr>
            <a:t> </a:t>
          </a:r>
          <a:r>
            <a:rPr lang="ru-RU" sz="1000" b="1" i="0" u="none" kern="1200" dirty="0" err="1">
              <a:solidFill>
                <a:schemeClr val="bg1"/>
              </a:solidFill>
            </a:rPr>
            <a:t>жарналары</a:t>
          </a:r>
          <a:endParaRPr lang="ru-RU" sz="1000" kern="1200" dirty="0">
            <a:solidFill>
              <a:schemeClr val="bg1"/>
            </a:solidFill>
          </a:endParaRPr>
        </a:p>
      </dsp:txBody>
      <dsp:txXfrm>
        <a:off x="34364" y="317104"/>
        <a:ext cx="2359667" cy="332215"/>
      </dsp:txXfrm>
    </dsp:sp>
    <dsp:sp modelId="{3C30B4E7-5724-4299-9782-DC62B2E39239}">
      <dsp:nvSpPr>
        <dsp:cNvPr id="0" name=""/>
        <dsp:cNvSpPr/>
      </dsp:nvSpPr>
      <dsp:spPr>
        <a:xfrm>
          <a:off x="-7997" y="737212"/>
          <a:ext cx="2395611" cy="368159"/>
        </a:xfrm>
        <a:prstGeom prst="roundRect">
          <a:avLst/>
        </a:prstGeom>
        <a:solidFill>
          <a:srgbClr val="FF0000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b="1" i="0" u="none" kern="1200" dirty="0" err="1">
              <a:solidFill>
                <a:schemeClr val="bg1"/>
              </a:solidFill>
            </a:rPr>
            <a:t>Қысқартылған</a:t>
          </a:r>
          <a:r>
            <a:rPr lang="ru-RU" sz="1000" b="1" i="0" u="none" kern="1200" dirty="0">
              <a:solidFill>
                <a:schemeClr val="bg1"/>
              </a:solidFill>
            </a:rPr>
            <a:t> </a:t>
          </a:r>
          <a:r>
            <a:rPr lang="ru-RU" sz="1000" b="1" i="0" u="none" kern="1200" dirty="0" err="1">
              <a:solidFill>
                <a:schemeClr val="bg1"/>
              </a:solidFill>
            </a:rPr>
            <a:t>жұмыс</a:t>
          </a:r>
          <a:r>
            <a:rPr lang="ru-RU" sz="1000" b="1" i="0" u="none" kern="1200" dirty="0">
              <a:solidFill>
                <a:schemeClr val="bg1"/>
              </a:solidFill>
            </a:rPr>
            <a:t> </a:t>
          </a:r>
          <a:r>
            <a:rPr lang="ru-RU" sz="1000" b="1" i="0" u="none" kern="1200" dirty="0" err="1">
              <a:solidFill>
                <a:schemeClr val="bg1"/>
              </a:solidFill>
            </a:rPr>
            <a:t>уақыты</a:t>
          </a:r>
          <a:endParaRPr lang="ru-RU" sz="1000" kern="1200" dirty="0">
            <a:solidFill>
              <a:schemeClr val="bg1"/>
            </a:solidFill>
          </a:endParaRPr>
        </a:p>
      </dsp:txBody>
      <dsp:txXfrm>
        <a:off x="9975" y="755184"/>
        <a:ext cx="2359667" cy="332215"/>
      </dsp:txXfrm>
    </dsp:sp>
    <dsp:sp modelId="{F3624040-05ED-4A97-9D9F-E0EA125375A5}">
      <dsp:nvSpPr>
        <dsp:cNvPr id="0" name=""/>
        <dsp:cNvSpPr/>
      </dsp:nvSpPr>
      <dsp:spPr>
        <a:xfrm>
          <a:off x="4215" y="1605644"/>
          <a:ext cx="2395611" cy="368159"/>
        </a:xfrm>
        <a:prstGeom prst="roundRect">
          <a:avLst/>
        </a:prstGeom>
        <a:solidFill>
          <a:schemeClr val="accent4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b="1" i="0" u="none" kern="1200" dirty="0" err="1"/>
            <a:t>Қосымша</a:t>
          </a:r>
          <a:r>
            <a:rPr lang="ru-RU" sz="1000" b="1" i="0" u="none" kern="1200" dirty="0"/>
            <a:t> </a:t>
          </a:r>
          <a:r>
            <a:rPr lang="ru-RU" sz="1000" b="1" i="0" u="none" kern="1200" dirty="0" err="1"/>
            <a:t>еңбек</a:t>
          </a:r>
          <a:r>
            <a:rPr lang="ru-RU" sz="1000" b="1" i="0" u="none" kern="1200" dirty="0"/>
            <a:t> </a:t>
          </a:r>
          <a:r>
            <a:rPr lang="ru-RU" sz="1000" b="1" i="0" u="none" kern="1200" dirty="0" err="1"/>
            <a:t>демалысы</a:t>
          </a:r>
          <a:endParaRPr lang="ru-RU" sz="1000" kern="1200" dirty="0"/>
        </a:p>
      </dsp:txBody>
      <dsp:txXfrm>
        <a:off x="22187" y="1623616"/>
        <a:ext cx="2359667" cy="332215"/>
      </dsp:txXfrm>
    </dsp:sp>
    <dsp:sp modelId="{6FB54A14-D8AD-4096-B10A-ED0009F5FF3B}">
      <dsp:nvSpPr>
        <dsp:cNvPr id="0" name=""/>
        <dsp:cNvSpPr/>
      </dsp:nvSpPr>
      <dsp:spPr>
        <a:xfrm>
          <a:off x="-20174" y="1164320"/>
          <a:ext cx="2395611" cy="368159"/>
        </a:xfrm>
        <a:prstGeom prst="roundRect">
          <a:avLst/>
        </a:prstGeom>
        <a:solidFill>
          <a:srgbClr val="FF7C80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b="1" i="0" u="none" kern="1200" dirty="0" err="1"/>
            <a:t>Емдік</a:t>
          </a:r>
          <a:r>
            <a:rPr lang="ru-RU" sz="1000" b="1" i="0" u="none" kern="1200" dirty="0"/>
            <a:t> </a:t>
          </a:r>
          <a:r>
            <a:rPr lang="ru-RU" sz="1000" b="1" i="0" u="none" kern="1200" dirty="0" err="1"/>
            <a:t>және</a:t>
          </a:r>
          <a:r>
            <a:rPr lang="ru-RU" sz="1000" b="1" i="0" u="none" kern="1200" dirty="0"/>
            <a:t> </a:t>
          </a:r>
          <a:r>
            <a:rPr lang="ru-RU" sz="1000" b="1" i="0" u="none" kern="1200" dirty="0" err="1"/>
            <a:t>профилактикалық</a:t>
          </a:r>
          <a:r>
            <a:rPr lang="ru-RU" sz="1000" b="1" i="0" u="none" kern="1200" dirty="0"/>
            <a:t> </a:t>
          </a:r>
          <a:r>
            <a:rPr lang="ru-RU" sz="1000" b="1" i="0" u="none" kern="1200" dirty="0" err="1"/>
            <a:t>тамақтану</a:t>
          </a:r>
          <a:endParaRPr lang="ru-RU" sz="1000" kern="1200" dirty="0"/>
        </a:p>
      </dsp:txBody>
      <dsp:txXfrm>
        <a:off x="-2202" y="1182292"/>
        <a:ext cx="2359667" cy="332215"/>
      </dsp:txXfrm>
    </dsp:sp>
    <dsp:sp modelId="{2C823118-72F2-41D7-ABA7-D398F9E91165}">
      <dsp:nvSpPr>
        <dsp:cNvPr id="0" name=""/>
        <dsp:cNvSpPr/>
      </dsp:nvSpPr>
      <dsp:spPr>
        <a:xfrm>
          <a:off x="18300" y="2088941"/>
          <a:ext cx="2395611" cy="368159"/>
        </a:xfrm>
        <a:prstGeom prst="roundRect">
          <a:avLst/>
        </a:prstGeom>
        <a:solidFill>
          <a:schemeClr val="accent4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b="1" i="0" u="none" kern="1200" dirty="0" err="1"/>
            <a:t>Сүт</a:t>
          </a:r>
          <a:r>
            <a:rPr lang="ru-RU" sz="1000" b="1" i="0" u="none" kern="1200" dirty="0"/>
            <a:t> </a:t>
          </a:r>
          <a:r>
            <a:rPr lang="ru-RU" sz="1000" b="1" i="0" u="none" kern="1200" dirty="0" err="1"/>
            <a:t>және</a:t>
          </a:r>
          <a:r>
            <a:rPr lang="ru-RU" sz="1000" b="1" i="0" u="none" kern="1200" dirty="0"/>
            <a:t> ТТӨ</a:t>
          </a:r>
          <a:endParaRPr lang="ru-RU" sz="1000" kern="1200" dirty="0"/>
        </a:p>
      </dsp:txBody>
      <dsp:txXfrm>
        <a:off x="36272" y="2106913"/>
        <a:ext cx="2359667" cy="332215"/>
      </dsp:txXfrm>
    </dsp:sp>
    <dsp:sp modelId="{F6A4F5CB-893F-455C-B49F-40E10F469652}">
      <dsp:nvSpPr>
        <dsp:cNvPr id="0" name=""/>
        <dsp:cNvSpPr/>
      </dsp:nvSpPr>
      <dsp:spPr>
        <a:xfrm>
          <a:off x="32608" y="2654475"/>
          <a:ext cx="2395611" cy="368159"/>
        </a:xfrm>
        <a:prstGeom prst="roundRect">
          <a:avLst/>
        </a:prstGeom>
        <a:solidFill>
          <a:srgbClr val="92D050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b="1" i="0" u="none" kern="1200" baseline="0" dirty="0" err="1">
              <a:solidFill>
                <a:schemeClr val="tx1"/>
              </a:solidFill>
            </a:rPr>
            <a:t>Еңбекақының</a:t>
          </a:r>
          <a:r>
            <a:rPr lang="ru-RU" sz="1000" b="1" i="0" u="none" kern="1200" baseline="0" dirty="0">
              <a:solidFill>
                <a:schemeClr val="tx1"/>
              </a:solidFill>
            </a:rPr>
            <a:t> </a:t>
          </a:r>
          <a:r>
            <a:rPr lang="ru-RU" sz="1000" b="1" i="0" u="none" kern="1200" baseline="0" dirty="0" err="1">
              <a:solidFill>
                <a:schemeClr val="tx1"/>
              </a:solidFill>
            </a:rPr>
            <a:t>мөлшерін</a:t>
          </a:r>
          <a:r>
            <a:rPr lang="ru-RU" sz="1000" b="1" i="0" u="none" kern="1200" baseline="0" dirty="0">
              <a:solidFill>
                <a:schemeClr val="tx1"/>
              </a:solidFill>
            </a:rPr>
            <a:t> </a:t>
          </a:r>
          <a:r>
            <a:rPr lang="ru-RU" sz="1000" b="1" i="0" u="none" kern="1200" baseline="0" dirty="0" err="1">
              <a:solidFill>
                <a:schemeClr val="tx1"/>
              </a:solidFill>
            </a:rPr>
            <a:t>арттыру</a:t>
          </a:r>
          <a:endParaRPr lang="ru-KZ" sz="1000" b="1" i="0" u="none" kern="1200" baseline="0" dirty="0">
            <a:solidFill>
              <a:schemeClr val="tx1"/>
            </a:solidFill>
          </a:endParaRPr>
        </a:p>
      </dsp:txBody>
      <dsp:txXfrm>
        <a:off x="50580" y="2672447"/>
        <a:ext cx="2359667" cy="3322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54465A4E-886A-8BF7-E4ED-51ADBCA583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448" cy="497838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l">
              <a:defRPr sz="1200"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7786F179-B137-1BA2-31C5-C557B720050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50643" y="1"/>
            <a:ext cx="2945448" cy="497838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r">
              <a:defRPr sz="1200"/>
            </a:lvl1pPr>
          </a:lstStyle>
          <a:p>
            <a:pPr>
              <a:defRPr/>
            </a:pPr>
            <a:fld id="{5526A75D-7F04-4FC6-A463-C54D2B378BBB}" type="datetimeFigureOut">
              <a:rPr lang="ru-RU"/>
              <a:pPr>
                <a:defRPr/>
              </a:pPr>
              <a:t>04.12.2023</a:t>
            </a:fld>
            <a:endParaRPr lang="x-none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E12756D6-1882-9113-A33C-7804EB722D8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2" tIns="45656" rIns="91312" bIns="45656" rtlCol="0" anchor="ctr"/>
          <a:lstStyle/>
          <a:p>
            <a:pPr lvl="0"/>
            <a:endParaRPr lang="x-none" noProof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C93E8169-EA00-07DD-4CD1-0AF9EC0261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0085" y="4777027"/>
            <a:ext cx="5437506" cy="3908187"/>
          </a:xfrm>
          <a:prstGeom prst="rect">
            <a:avLst/>
          </a:prstGeom>
        </p:spPr>
        <p:txBody>
          <a:bodyPr vert="horz" lIns="91312" tIns="45656" rIns="91312" bIns="45656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x-none" noProof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9DBE394-0F24-BA6D-3FBB-6995BD67DA4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800"/>
            <a:ext cx="2945448" cy="497838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311D865-9778-C06F-AC8B-034FB97DE7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50643" y="9428800"/>
            <a:ext cx="2945448" cy="497838"/>
          </a:xfrm>
          <a:prstGeom prst="rect">
            <a:avLst/>
          </a:prstGeom>
        </p:spPr>
        <p:txBody>
          <a:bodyPr vert="horz" wrap="square" lIns="91312" tIns="45656" rIns="91312" bIns="45656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773F067-3DD6-4462-B968-B57FFDC84DA3}" type="slidenum">
              <a:rPr lang="x-none" altLang="ru-RU"/>
              <a:pPr>
                <a:defRPr/>
              </a:pPr>
              <a:t>‹#›</a:t>
            </a:fld>
            <a:endParaRPr lang="x-none" altLang="ru-RU"/>
          </a:p>
        </p:txBody>
      </p:sp>
    </p:spTree>
    <p:extLst>
      <p:ext uri="{BB962C8B-B14F-4D97-AF65-F5344CB8AC3E}">
        <p14:creationId xmlns:p14="http://schemas.microsoft.com/office/powerpoint/2010/main" val="111510118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773F067-3DD6-4462-B968-B57FFDC84DA3}" type="slidenum">
              <a:rPr lang="x-none" altLang="ru-RU" smtClean="0"/>
              <a:pPr>
                <a:defRPr/>
              </a:pPr>
              <a:t>2</a:t>
            </a:fld>
            <a:endParaRPr lang="x-none" altLang="ru-RU"/>
          </a:p>
        </p:txBody>
      </p:sp>
    </p:spTree>
    <p:extLst>
      <p:ext uri="{BB962C8B-B14F-4D97-AF65-F5344CB8AC3E}">
        <p14:creationId xmlns:p14="http://schemas.microsoft.com/office/powerpoint/2010/main" val="29937256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773F067-3DD6-4462-B968-B57FFDC84DA3}" type="slidenum">
              <a:rPr lang="x-none" altLang="ru-RU" smtClean="0"/>
              <a:pPr>
                <a:defRPr/>
              </a:pPr>
              <a:t>4</a:t>
            </a:fld>
            <a:endParaRPr lang="x-none" altLang="ru-RU"/>
          </a:p>
        </p:txBody>
      </p:sp>
    </p:spTree>
    <p:extLst>
      <p:ext uri="{BB962C8B-B14F-4D97-AF65-F5344CB8AC3E}">
        <p14:creationId xmlns:p14="http://schemas.microsoft.com/office/powerpoint/2010/main" val="5938942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773F067-3DD6-4462-B968-B57FFDC84DA3}" type="slidenum">
              <a:rPr lang="x-none" altLang="ru-RU" smtClean="0"/>
              <a:pPr>
                <a:defRPr/>
              </a:pPr>
              <a:t>6</a:t>
            </a:fld>
            <a:endParaRPr lang="x-none" altLang="ru-RU"/>
          </a:p>
        </p:txBody>
      </p:sp>
    </p:spTree>
    <p:extLst>
      <p:ext uri="{BB962C8B-B14F-4D97-AF65-F5344CB8AC3E}">
        <p14:creationId xmlns:p14="http://schemas.microsoft.com/office/powerpoint/2010/main" val="2490970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73F067-3DD6-4462-B968-B57FFDC84DA3}" type="slidenum">
              <a:rPr lang="x-none" altLang="ru-RU" smtClean="0"/>
              <a:pPr>
                <a:defRPr/>
              </a:pPr>
              <a:t>9</a:t>
            </a:fld>
            <a:endParaRPr lang="x-none" altLang="ru-RU"/>
          </a:p>
        </p:txBody>
      </p:sp>
    </p:spTree>
    <p:extLst>
      <p:ext uri="{BB962C8B-B14F-4D97-AF65-F5344CB8AC3E}">
        <p14:creationId xmlns:p14="http://schemas.microsoft.com/office/powerpoint/2010/main" val="3528985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1.xml" /><Relationship Id="rId1" Type="http://schemas.openxmlformats.org/officeDocument/2006/relationships/vmlDrawing" Target="../drawings/vmlDrawing1.v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.bin" 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C1B6C6C-C58D-C43C-D621-7C2A04298D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FD4E4-4340-4887-8D6D-8EB110BD92B4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778BA2C-05E2-E438-A131-C9FD8BE4D6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5B2B87F-63F3-022F-FEF7-7875F712F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9D539C-7F70-4196-AA59-1A51AA669F5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24930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2DA8A79-4748-256C-E0E5-AC8F29421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F9C73D-C009-4F32-9847-0FBB60C5567C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9DCC346-539D-4B22-81E9-6ED5FE452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CE72333-B403-0B0C-B101-C85CC71205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15EE59-9447-4E13-BB2C-F63A7BE1284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480684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AC2B2ED-12ED-E192-3FC9-2D6278C1F7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5B1453-878C-47CE-BBB7-077725982CD6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02832AE-D0BA-7249-BFC9-951598F5E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2085606-22DF-44DB-A65D-9DC2CA78E7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57F15E-AD75-4CFF-A961-77FC8201D2F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668531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6" hidden="1">
            <a:extLst>
              <a:ext uri="{FF2B5EF4-FFF2-40B4-BE49-F238E27FC236}">
                <a16:creationId xmlns:a16="http://schemas.microsoft.com/office/drawing/2014/main" id="{08F35850-3898-EB87-E1F0-5F8E0C235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Объект 6" hidden="1">
                        <a:extLst>
                          <a:ext uri="{FF2B5EF4-FFF2-40B4-BE49-F238E27FC236}">
                            <a16:creationId xmlns:a16="http://schemas.microsoft.com/office/drawing/2014/main" id="{08F35850-3898-EB87-E1F0-5F8E0C23544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12B0340-5073-24CE-1B07-F7C52180591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Министерство труда и</a:t>
            </a:r>
          </a:p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социальной защиты населения</a:t>
            </a:r>
          </a:p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Республики Казахстан</a:t>
            </a:r>
            <a:endParaRPr lang="en-US" altLang="ru-RU" sz="14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66380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ый треугольник 1">
            <a:extLst>
              <a:ext uri="{FF2B5EF4-FFF2-40B4-BE49-F238E27FC236}">
                <a16:creationId xmlns:a16="http://schemas.microsoft.com/office/drawing/2014/main" id="{C80A56F4-D35D-E3DA-340D-BFB375FDF191}"/>
              </a:ext>
            </a:extLst>
          </p:cNvPr>
          <p:cNvSpPr/>
          <p:nvPr userDrawn="1"/>
        </p:nvSpPr>
        <p:spPr>
          <a:xfrm rot="10800000">
            <a:off x="11456988" y="0"/>
            <a:ext cx="735012" cy="663575"/>
          </a:xfrm>
          <a:prstGeom prst="rtTriangle">
            <a:avLst/>
          </a:prstGeom>
          <a:solidFill>
            <a:srgbClr val="295E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FAEFEDD-71B0-D1D8-5C55-23148CA7F626}"/>
              </a:ext>
            </a:extLst>
          </p:cNvPr>
          <p:cNvSpPr/>
          <p:nvPr userDrawn="1"/>
        </p:nvSpPr>
        <p:spPr>
          <a:xfrm>
            <a:off x="11726863" y="74613"/>
            <a:ext cx="495300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fld id="{0E262D1D-1B68-4200-8D81-F99900075811}" type="slidenum">
              <a:rPr lang="ru-RU" altLang="ru-RU" sz="14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‹#›</a:t>
            </a:fld>
            <a:endParaRPr lang="ru-RU" altLang="ru-RU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Straight Connector 284">
            <a:extLst>
              <a:ext uri="{FF2B5EF4-FFF2-40B4-BE49-F238E27FC236}">
                <a16:creationId xmlns:a16="http://schemas.microsoft.com/office/drawing/2014/main" id="{D84FF50C-6FAD-2685-F2F6-0DDC8B35D490}"/>
              </a:ext>
            </a:extLst>
          </p:cNvPr>
          <p:cNvCxnSpPr/>
          <p:nvPr userDrawn="1"/>
        </p:nvCxnSpPr>
        <p:spPr>
          <a:xfrm>
            <a:off x="0" y="663575"/>
            <a:ext cx="12192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222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0CFA2FD-839F-EF28-1F55-DC07C376A3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4E00CF-439C-41EC-8C1C-658D0E2C4C7B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DE5AB08-F66E-E181-291A-6468F0DDE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F9D39C0-58B4-1A28-D9E1-D430B59F4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31DF2A-8BD9-453C-8C94-FFF427476CE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75848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62F3AC7-F71F-DA35-B765-2A8947685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FFC38A-C94D-4BC5-9536-673E6CE1C912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7468F09-0C42-6A78-103B-45D84594B5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1422045-F21B-129F-0D30-49D5CF9C91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38619-9B71-4170-8536-76463D59B19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009238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3B062AFB-790F-7ED5-C6E5-B1DF36C50C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084425-E554-4913-8A45-49A82C576DBF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8979DA35-D7BA-828F-0EF9-65284A956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97F10A5B-3FEF-5388-10A0-F58CD9B408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4F3372-04EF-4582-B84F-FF923902A99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42651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B73FAAF9-CCF1-8A46-CAE0-42FB16F219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0EBE1-748D-4118-98B5-097979911D60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969A089D-D5C1-039E-5551-C81D5502D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F58F25E1-D62A-3AF4-32CB-3B1C5C5E0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90BD5E-6522-4A0E-B1A0-EDE5081FDDC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789756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2D008DCD-8313-A378-B108-F13E76E9A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FF215B-5897-4712-87A2-F298150AB9D9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CD61814E-9B19-84AE-A326-25B890C00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74F1B36D-5DB9-BD56-5650-4641E4F83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A69003-79C3-4F6F-ACA6-E28906D5109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78577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93825EE6-7509-23FF-0458-60A072740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41BA92-5750-488B-BD11-2C820E336C2C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F8A4CDC6-77B9-C0D7-2175-62698C063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93DB616D-F146-4820-4A5E-216297DB2C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0DA86-CB47-4D89-BB70-F1253B8DB57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701896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A7EBF45C-CDAA-BB0B-1ECD-4ECED292A6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3979-A02C-40B0-8615-929E5F923D54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25FB8058-242F-C412-E530-939ED7BA1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5A7E5D08-27B5-DF96-6015-3F8699968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3BA134-E339-4831-9561-D6237D23CE5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886972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352A0E48-CDC2-EF9E-0E65-93E5AAE2F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906674-55A2-46A9-99B1-BCC8AE34BD02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1CC8ED27-0DFA-7F70-ED4E-D27D003173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8A32F33-3374-C0DA-09BC-ACD7CCCC0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77D076-5366-4A7B-A9F9-20B6553BB5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481933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slideLayout" Target="../slideLayouts/slideLayout13.xml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theme" Target="../theme/theme1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>
            <a:extLst>
              <a:ext uri="{FF2B5EF4-FFF2-40B4-BE49-F238E27FC236}">
                <a16:creationId xmlns:a16="http://schemas.microsoft.com/office/drawing/2014/main" id="{C5B12651-C2CA-470B-4672-748BDBFC0B8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>
            <a:extLst>
              <a:ext uri="{FF2B5EF4-FFF2-40B4-BE49-F238E27FC236}">
                <a16:creationId xmlns:a16="http://schemas.microsoft.com/office/drawing/2014/main" id="{9AE11B5F-91E5-AC2F-7C66-2CAE195FF71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B7C4FF6-571A-B68E-AA29-4810F58D14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D4C0049-1DA3-4621-81E5-4933E008AA23}" type="datetime1">
              <a:rPr lang="ru-RU"/>
              <a:pPr>
                <a:defRPr/>
              </a:pPr>
              <a:t>04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574CA2C-F633-918A-6063-7217420830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DAF3528-FF7B-493D-59E3-9F1561D622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DFD9E689-6A79-4DE0-B70E-10AEC38B960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  <p:sldLayoutId id="2147483855" r:id="rId12"/>
    <p:sldLayoutId id="2147483856" r:id="rId13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 /><Relationship Id="rId2" Type="http://schemas.openxmlformats.org/officeDocument/2006/relationships/tags" Target="../tags/tag2.xml" /><Relationship Id="rId1" Type="http://schemas.openxmlformats.org/officeDocument/2006/relationships/vmlDrawing" Target="../drawings/vmlDrawing2.vml" /><Relationship Id="rId6" Type="http://schemas.openxmlformats.org/officeDocument/2006/relationships/image" Target="../media/image2.png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2.bin" 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 /><Relationship Id="rId3" Type="http://schemas.openxmlformats.org/officeDocument/2006/relationships/image" Target="../media/image31.png" /><Relationship Id="rId7" Type="http://schemas.openxmlformats.org/officeDocument/2006/relationships/image" Target="../media/image34.png" /><Relationship Id="rId2" Type="http://schemas.openxmlformats.org/officeDocument/2006/relationships/image" Target="../media/image30.png" /><Relationship Id="rId1" Type="http://schemas.openxmlformats.org/officeDocument/2006/relationships/slideLayout" Target="../slideLayouts/slideLayout7.xml" /><Relationship Id="rId6" Type="http://schemas.openxmlformats.org/officeDocument/2006/relationships/image" Target="../media/image9.png" /><Relationship Id="rId5" Type="http://schemas.openxmlformats.org/officeDocument/2006/relationships/image" Target="../media/image33.png" /><Relationship Id="rId4" Type="http://schemas.openxmlformats.org/officeDocument/2006/relationships/image" Target="../media/image32.png" 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 /><Relationship Id="rId1" Type="http://schemas.openxmlformats.org/officeDocument/2006/relationships/slideLayout" Target="../slideLayouts/slideLayout2.xml" 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notesSlide" Target="../notesSlides/notesSlide1.xml" /><Relationship Id="rId1" Type="http://schemas.openxmlformats.org/officeDocument/2006/relationships/slideLayout" Target="../slideLayouts/slideLayout2.xml" /><Relationship Id="rId5" Type="http://schemas.openxmlformats.org/officeDocument/2006/relationships/image" Target="../media/image5.png" /><Relationship Id="rId4" Type="http://schemas.openxmlformats.org/officeDocument/2006/relationships/image" Target="../media/image4.png" 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 /><Relationship Id="rId3" Type="http://schemas.openxmlformats.org/officeDocument/2006/relationships/image" Target="../media/image7.svg" /><Relationship Id="rId7" Type="http://schemas.openxmlformats.org/officeDocument/2006/relationships/image" Target="../media/image10.png" /><Relationship Id="rId2" Type="http://schemas.openxmlformats.org/officeDocument/2006/relationships/image" Target="../media/image6.png" /><Relationship Id="rId1" Type="http://schemas.openxmlformats.org/officeDocument/2006/relationships/slideLayout" Target="../slideLayouts/slideLayout2.xml" /><Relationship Id="rId6" Type="http://schemas.openxmlformats.org/officeDocument/2006/relationships/image" Target="../media/image9.png" /><Relationship Id="rId5" Type="http://schemas.openxmlformats.org/officeDocument/2006/relationships/image" Target="../media/image8.svg" /><Relationship Id="rId10" Type="http://schemas.openxmlformats.org/officeDocument/2006/relationships/image" Target="../media/image13.png" /><Relationship Id="rId4" Type="http://schemas.openxmlformats.org/officeDocument/2006/relationships/image" Target="../media/image5.png" /><Relationship Id="rId9" Type="http://schemas.openxmlformats.org/officeDocument/2006/relationships/image" Target="../media/image12.png" 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 /><Relationship Id="rId3" Type="http://schemas.openxmlformats.org/officeDocument/2006/relationships/diagramData" Target="../diagrams/data1.xml" /><Relationship Id="rId7" Type="http://schemas.microsoft.com/office/2007/relationships/diagramDrawing" Target="../diagrams/drawing1.xml" /><Relationship Id="rId2" Type="http://schemas.openxmlformats.org/officeDocument/2006/relationships/notesSlide" Target="../notesSlides/notesSlide2.xml" /><Relationship Id="rId1" Type="http://schemas.openxmlformats.org/officeDocument/2006/relationships/slideLayout" Target="../slideLayouts/slideLayout2.xml" /><Relationship Id="rId6" Type="http://schemas.openxmlformats.org/officeDocument/2006/relationships/diagramColors" Target="../diagrams/colors1.xml" /><Relationship Id="rId5" Type="http://schemas.openxmlformats.org/officeDocument/2006/relationships/diagramQuickStyle" Target="../diagrams/quickStyle1.xml" /><Relationship Id="rId4" Type="http://schemas.openxmlformats.org/officeDocument/2006/relationships/diagramLayout" Target="../diagrams/layout1.xml" 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 /><Relationship Id="rId2" Type="http://schemas.openxmlformats.org/officeDocument/2006/relationships/diagramData" Target="../diagrams/data2.xml" /><Relationship Id="rId1" Type="http://schemas.openxmlformats.org/officeDocument/2006/relationships/slideLayout" Target="../slideLayouts/slideLayout2.xml" /><Relationship Id="rId6" Type="http://schemas.microsoft.com/office/2007/relationships/diagramDrawing" Target="../diagrams/drawing2.xml" /><Relationship Id="rId5" Type="http://schemas.openxmlformats.org/officeDocument/2006/relationships/diagramColors" Target="../diagrams/colors2.xml" /><Relationship Id="rId4" Type="http://schemas.openxmlformats.org/officeDocument/2006/relationships/diagramQuickStyle" Target="../diagrams/quickStyle2.xml" 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 /><Relationship Id="rId7" Type="http://schemas.microsoft.com/office/2007/relationships/diagramDrawing" Target="../diagrams/drawing3.xml" /><Relationship Id="rId2" Type="http://schemas.openxmlformats.org/officeDocument/2006/relationships/notesSlide" Target="../notesSlides/notesSlide3.xml" /><Relationship Id="rId1" Type="http://schemas.openxmlformats.org/officeDocument/2006/relationships/slideLayout" Target="../slideLayouts/slideLayout2.xml" /><Relationship Id="rId6" Type="http://schemas.openxmlformats.org/officeDocument/2006/relationships/diagramColors" Target="../diagrams/colors3.xml" /><Relationship Id="rId5" Type="http://schemas.openxmlformats.org/officeDocument/2006/relationships/diagramQuickStyle" Target="../diagrams/quickStyle3.xml" /><Relationship Id="rId4" Type="http://schemas.openxmlformats.org/officeDocument/2006/relationships/diagramLayout" Target="../diagrams/layout3.xml" 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 /><Relationship Id="rId3" Type="http://schemas.openxmlformats.org/officeDocument/2006/relationships/diagramLayout" Target="../diagrams/layout4.xml" /><Relationship Id="rId7" Type="http://schemas.openxmlformats.org/officeDocument/2006/relationships/diagramData" Target="../diagrams/data5.xml" /><Relationship Id="rId2" Type="http://schemas.openxmlformats.org/officeDocument/2006/relationships/diagramData" Target="../diagrams/data4.xml" /><Relationship Id="rId1" Type="http://schemas.openxmlformats.org/officeDocument/2006/relationships/slideLayout" Target="../slideLayouts/slideLayout2.xml" /><Relationship Id="rId6" Type="http://schemas.microsoft.com/office/2007/relationships/diagramDrawing" Target="../diagrams/drawing4.xml" /><Relationship Id="rId11" Type="http://schemas.microsoft.com/office/2007/relationships/diagramDrawing" Target="../diagrams/drawing5.xml" /><Relationship Id="rId5" Type="http://schemas.openxmlformats.org/officeDocument/2006/relationships/diagramColors" Target="../diagrams/colors4.xml" /><Relationship Id="rId10" Type="http://schemas.openxmlformats.org/officeDocument/2006/relationships/diagramColors" Target="../diagrams/colors5.xml" /><Relationship Id="rId4" Type="http://schemas.openxmlformats.org/officeDocument/2006/relationships/diagramQuickStyle" Target="../diagrams/quickStyle4.xml" /><Relationship Id="rId9" Type="http://schemas.openxmlformats.org/officeDocument/2006/relationships/diagramQuickStyle" Target="../diagrams/quickStyle5.xml" 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 /><Relationship Id="rId3" Type="http://schemas.openxmlformats.org/officeDocument/2006/relationships/image" Target="../media/image12.png" /><Relationship Id="rId7" Type="http://schemas.openxmlformats.org/officeDocument/2006/relationships/image" Target="../media/image19.png" /><Relationship Id="rId2" Type="http://schemas.openxmlformats.org/officeDocument/2006/relationships/image" Target="../media/image15.png" /><Relationship Id="rId1" Type="http://schemas.openxmlformats.org/officeDocument/2006/relationships/slideLayout" Target="../slideLayouts/slideLayout7.xml" /><Relationship Id="rId6" Type="http://schemas.openxmlformats.org/officeDocument/2006/relationships/image" Target="../media/image18.png" /><Relationship Id="rId5" Type="http://schemas.openxmlformats.org/officeDocument/2006/relationships/image" Target="../media/image17.png" /><Relationship Id="rId4" Type="http://schemas.openxmlformats.org/officeDocument/2006/relationships/image" Target="../media/image16.png" /><Relationship Id="rId9" Type="http://schemas.openxmlformats.org/officeDocument/2006/relationships/image" Target="../media/image21.png" 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 /><Relationship Id="rId13" Type="http://schemas.openxmlformats.org/officeDocument/2006/relationships/image" Target="../media/image27.png" /><Relationship Id="rId3" Type="http://schemas.openxmlformats.org/officeDocument/2006/relationships/tags" Target="../tags/tag4.xml" /><Relationship Id="rId7" Type="http://schemas.openxmlformats.org/officeDocument/2006/relationships/image" Target="../media/image22.emf" /><Relationship Id="rId12" Type="http://schemas.openxmlformats.org/officeDocument/2006/relationships/image" Target="../media/image26.png" /><Relationship Id="rId2" Type="http://schemas.openxmlformats.org/officeDocument/2006/relationships/tags" Target="../tags/tag3.xml" /><Relationship Id="rId1" Type="http://schemas.openxmlformats.org/officeDocument/2006/relationships/vmlDrawing" Target="../drawings/vmlDrawing3.vml" /><Relationship Id="rId6" Type="http://schemas.openxmlformats.org/officeDocument/2006/relationships/oleObject" Target="../embeddings/oleObject3.bin" /><Relationship Id="rId11" Type="http://schemas.microsoft.com/office/2007/relationships/hdphoto" Target="../media/hdphoto1.wdp" /><Relationship Id="rId5" Type="http://schemas.openxmlformats.org/officeDocument/2006/relationships/notesSlide" Target="../notesSlides/notesSlide4.xml" /><Relationship Id="rId15" Type="http://schemas.openxmlformats.org/officeDocument/2006/relationships/image" Target="../media/image29.png" /><Relationship Id="rId10" Type="http://schemas.openxmlformats.org/officeDocument/2006/relationships/image" Target="../media/image25.png" /><Relationship Id="rId4" Type="http://schemas.openxmlformats.org/officeDocument/2006/relationships/slideLayout" Target="../slideLayouts/slideLayout7.xml" /><Relationship Id="rId9" Type="http://schemas.openxmlformats.org/officeDocument/2006/relationships/image" Target="../media/image24.png" /><Relationship Id="rId14" Type="http://schemas.openxmlformats.org/officeDocument/2006/relationships/image" Target="../media/image28.png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Объект 5" hidden="1">
            <a:extLst>
              <a:ext uri="{FF2B5EF4-FFF2-40B4-BE49-F238E27FC236}">
                <a16:creationId xmlns:a16="http://schemas.microsoft.com/office/drawing/2014/main" id="{1FE90555-94BF-27CF-B5A0-088686EA4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122" name="Объект 5" hidden="1">
                        <a:extLst>
                          <a:ext uri="{FF2B5EF4-FFF2-40B4-BE49-F238E27FC236}">
                            <a16:creationId xmlns:a16="http://schemas.microsoft.com/office/drawing/2014/main" id="{1FE90555-94BF-27CF-B5A0-088686EA482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Прямоугольник 7">
            <a:extLst>
              <a:ext uri="{FF2B5EF4-FFF2-40B4-BE49-F238E27FC236}">
                <a16:creationId xmlns:a16="http://schemas.microsoft.com/office/drawing/2014/main" id="{B3C6087F-5B77-E319-29E0-7EBF2D14A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700" y="3055651"/>
            <a:ext cx="10683875" cy="107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3200" b="1" dirty="0">
                <a:solidFill>
                  <a:srgbClr val="002060"/>
                </a:solidFill>
                <a:latin typeface="Franklin Gothic Medium" panose="020B0603020102020204" pitchFamily="34" charset="0"/>
              </a:rPr>
              <a:t>ҚАЗАҚСТАН РЕСПУБЛИКАСЫНДАҒЫ 2030 ЖЫЛҒА ДЕЙІНГІ ҚАУІПСІЗ ЕҢБЕК ТҰЖЫРЫМДАМАСЫ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F5B88D8-C26E-F51A-188B-E82C41A94EFF}"/>
              </a:ext>
            </a:extLst>
          </p:cNvPr>
          <p:cNvSpPr/>
          <p:nvPr/>
        </p:nvSpPr>
        <p:spPr>
          <a:xfrm>
            <a:off x="11657013" y="2717800"/>
            <a:ext cx="131762" cy="1476375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2E77713E-4817-9FD8-3EE6-6869E5AB7FDD}"/>
              </a:ext>
            </a:extLst>
          </p:cNvPr>
          <p:cNvCxnSpPr/>
          <p:nvPr/>
        </p:nvCxnSpPr>
        <p:spPr>
          <a:xfrm flipV="1">
            <a:off x="3589338" y="4148138"/>
            <a:ext cx="7996237" cy="46037"/>
          </a:xfrm>
          <a:prstGeom prst="straightConnector1">
            <a:avLst/>
          </a:prstGeom>
          <a:ln w="28575">
            <a:solidFill>
              <a:srgbClr val="00206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id="{41AAC22E-442C-5C5D-B18D-AC7ACD06D460}"/>
              </a:ext>
            </a:extLst>
          </p:cNvPr>
          <p:cNvPicPr>
            <a:picLocks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79450" y="287338"/>
            <a:ext cx="955675" cy="93345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129" name="Прямоугольник 2">
            <a:extLst>
              <a:ext uri="{FF2B5EF4-FFF2-40B4-BE49-F238E27FC236}">
                <a16:creationId xmlns:a16="http://schemas.microsoft.com/office/drawing/2014/main" id="{C94884B0-34B8-2413-1EE3-00A340A94E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9263" y="355600"/>
            <a:ext cx="385603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953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953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953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953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953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>
                <a:srgbClr val="002060"/>
              </a:buClr>
              <a:buFontTx/>
              <a:buNone/>
            </a:pPr>
            <a:r>
              <a:rPr lang="ru-RU" altLang="en-US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altLang="en-US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altLang="en-US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endParaRPr lang="ru-RU" altLang="en-US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>
                <a:srgbClr val="002060"/>
              </a:buClr>
              <a:buFontTx/>
              <a:buNone/>
            </a:pPr>
            <a:r>
              <a:rPr lang="ru-RU" altLang="en-US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en-US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ты</a:t>
            </a:r>
            <a:r>
              <a:rPr lang="ru-RU" altLang="en-US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altLang="en-US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altLang="en-US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лігі</a:t>
            </a:r>
            <a:endParaRPr lang="ru-RU" altLang="en-US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069E2E3-38BD-4B9A-1585-ACF7A5058A1A}"/>
              </a:ext>
            </a:extLst>
          </p:cNvPr>
          <p:cNvSpPr txBox="1"/>
          <p:nvPr/>
        </p:nvSpPr>
        <p:spPr>
          <a:xfrm>
            <a:off x="696914" y="1087704"/>
            <a:ext cx="2203450" cy="324704"/>
          </a:xfrm>
          <a:prstGeom prst="homePlate">
            <a:avLst/>
          </a:prstGeom>
          <a:solidFill>
            <a:srgbClr val="295E7E"/>
          </a:solidFill>
          <a:ln>
            <a:noFill/>
          </a:ln>
        </p:spPr>
        <p:txBody>
          <a:bodyPr>
            <a:spAutoFit/>
          </a:bodyPr>
          <a:lstStyle>
            <a:defPPr lvl="0">
              <a:defRPr lang="ru-RU"/>
            </a:defPPr>
            <a:lvl1pPr lvl="0" algn="ctr">
              <a:defRPr b="1">
                <a:latin typeface="Calibri Light" panose="020F0302020204030204" pitchFamily="34" charset="0"/>
              </a:defRPr>
            </a:lvl1pPr>
            <a:lvl2pPr lvl="1"/>
            <a:lvl3pPr lvl="2"/>
            <a:lvl4pPr lvl="3"/>
            <a:lvl5pPr lvl="4"/>
            <a:lvl6pPr lvl="5"/>
            <a:lvl7pPr lvl="6"/>
            <a:lvl8pPr lvl="7"/>
            <a:lvl9pPr lvl="8"/>
          </a:lstStyle>
          <a:p>
            <a:pPr>
              <a:defRPr/>
            </a:pPr>
            <a:r>
              <a:rPr lang="ru-RU" sz="1510" dirty="0" err="1">
                <a:solidFill>
                  <a:schemeClr val="bg1"/>
                </a:solidFill>
                <a:latin typeface="Poppins Semi-Bold"/>
              </a:rPr>
              <a:t>Қатысушылар</a:t>
            </a:r>
            <a:r>
              <a:rPr lang="ru-RU" sz="1510" dirty="0">
                <a:solidFill>
                  <a:schemeClr val="bg1"/>
                </a:solidFill>
                <a:latin typeface="Poppins Semi-Bold"/>
              </a:rPr>
              <a:t> </a:t>
            </a:r>
            <a:r>
              <a:rPr lang="ru-RU" sz="1510" dirty="0" err="1">
                <a:solidFill>
                  <a:schemeClr val="bg1"/>
                </a:solidFill>
                <a:latin typeface="Poppins Semi-Bold"/>
              </a:rPr>
              <a:t>аймағы</a:t>
            </a:r>
            <a:endParaRPr lang="ru-RU" sz="1510" dirty="0">
              <a:solidFill>
                <a:schemeClr val="bg1"/>
              </a:solidFill>
              <a:latin typeface="Poppins Semi-Bold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0D62FE7-51A9-ADDE-3EA0-30AB59FCD645}"/>
              </a:ext>
            </a:extLst>
          </p:cNvPr>
          <p:cNvSpPr txBox="1"/>
          <p:nvPr/>
        </p:nvSpPr>
        <p:spPr>
          <a:xfrm>
            <a:off x="3078220" y="1104558"/>
            <a:ext cx="2203450" cy="307777"/>
          </a:xfrm>
          <a:prstGeom prst="homePlate">
            <a:avLst/>
          </a:prstGeom>
          <a:solidFill>
            <a:srgbClr val="295E7E"/>
          </a:solidFill>
          <a:ln>
            <a:noFill/>
          </a:ln>
        </p:spPr>
        <p:txBody>
          <a:bodyPr>
            <a:spAutoFit/>
          </a:bodyPr>
          <a:lstStyle>
            <a:defPPr lvl="0">
              <a:defRPr lang="ru-RU"/>
            </a:defPPr>
            <a:lvl1pPr lvl="0" algn="ctr">
              <a:defRPr b="1">
                <a:latin typeface="Calibri Light" panose="020F0302020204030204" pitchFamily="34" charset="0"/>
              </a:defRPr>
            </a:lvl1pPr>
            <a:lvl2pPr lvl="1"/>
            <a:lvl3pPr lvl="2"/>
            <a:lvl4pPr lvl="3"/>
            <a:lvl5pPr lvl="4"/>
            <a:lvl6pPr lvl="5"/>
            <a:lvl7pPr lvl="6"/>
            <a:lvl8pPr lvl="7"/>
            <a:lvl9pPr lvl="8"/>
          </a:lstStyle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Poppins Semi-Bold"/>
              </a:rPr>
              <a:t>Мем </a:t>
            </a:r>
            <a:r>
              <a:rPr lang="ru-RU" sz="1400" dirty="0" err="1">
                <a:solidFill>
                  <a:schemeClr val="bg1"/>
                </a:solidFill>
                <a:latin typeface="Poppins Semi-Bold"/>
              </a:rPr>
              <a:t>органдар</a:t>
            </a:r>
            <a:r>
              <a:rPr lang="ru-RU" sz="1400" dirty="0">
                <a:solidFill>
                  <a:schemeClr val="bg1"/>
                </a:solidFill>
                <a:latin typeface="Poppins Semi-Bold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Poppins Semi-Bold"/>
              </a:rPr>
              <a:t>аймағы</a:t>
            </a:r>
            <a:endParaRPr lang="ru-RU" sz="1400" dirty="0">
              <a:solidFill>
                <a:schemeClr val="bg1"/>
              </a:solidFill>
              <a:latin typeface="Poppins Semi-Bold"/>
            </a:endParaRPr>
          </a:p>
        </p:txBody>
      </p:sp>
      <p:sp>
        <p:nvSpPr>
          <p:cNvPr id="11273" name="TextBox 15">
            <a:extLst>
              <a:ext uri="{FF2B5EF4-FFF2-40B4-BE49-F238E27FC236}">
                <a16:creationId xmlns:a16="http://schemas.microsoft.com/office/drawing/2014/main" id="{80E73F99-6CAF-E64F-0AE4-1C9CA0C67B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0905" y="1619912"/>
            <a:ext cx="220345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x-none" sz="1200" dirty="0">
                <a:solidFill>
                  <a:srgbClr val="000000"/>
                </a:solidFill>
                <a:latin typeface="Poppins Semi-Bold"/>
              </a:rPr>
              <a:t>SDU</a:t>
            </a:r>
            <a:r>
              <a:rPr lang="ru-RU" altLang="x-none" sz="1200" dirty="0">
                <a:solidFill>
                  <a:srgbClr val="000000"/>
                </a:solidFill>
                <a:latin typeface="Poppins Semi-Bold"/>
              </a:rPr>
              <a:t>-</a:t>
            </a:r>
            <a:r>
              <a:rPr lang="ru-RU" altLang="x-none" sz="1200" dirty="0" err="1">
                <a:solidFill>
                  <a:srgbClr val="000000"/>
                </a:solidFill>
                <a:latin typeface="Poppins Semi-Bold"/>
              </a:rPr>
              <a:t>ға</a:t>
            </a:r>
            <a:r>
              <a:rPr lang="ru-RU" altLang="x-none" sz="1200" dirty="0">
                <a:solidFill>
                  <a:srgbClr val="000000"/>
                </a:solidFill>
                <a:latin typeface="Poppins Semi-Bold"/>
              </a:rPr>
              <a:t> </a:t>
            </a:r>
            <a:r>
              <a:rPr lang="ru-RU" altLang="x-none" sz="1200" dirty="0" err="1">
                <a:solidFill>
                  <a:srgbClr val="000000"/>
                </a:solidFill>
                <a:latin typeface="Poppins Semi-Bold"/>
              </a:rPr>
              <a:t>заңды</a:t>
            </a:r>
            <a:r>
              <a:rPr lang="ru-RU" altLang="x-none" sz="1200" dirty="0">
                <a:solidFill>
                  <a:srgbClr val="000000"/>
                </a:solidFill>
                <a:latin typeface="Poppins Semi-Bold"/>
              </a:rPr>
              <a:t> </a:t>
            </a:r>
            <a:r>
              <a:rPr lang="ru-RU" altLang="x-none" sz="1200" dirty="0" err="1">
                <a:solidFill>
                  <a:srgbClr val="000000"/>
                </a:solidFill>
                <a:latin typeface="Poppins Semi-Bold"/>
              </a:rPr>
              <a:t>және</a:t>
            </a:r>
            <a:r>
              <a:rPr lang="ru-RU" altLang="x-none" sz="1200" dirty="0">
                <a:solidFill>
                  <a:srgbClr val="000000"/>
                </a:solidFill>
                <a:latin typeface="Poppins Semi-Bold"/>
              </a:rPr>
              <a:t> </a:t>
            </a:r>
            <a:r>
              <a:rPr lang="ru-RU" altLang="x-none" sz="1200" dirty="0" err="1">
                <a:solidFill>
                  <a:srgbClr val="000000"/>
                </a:solidFill>
                <a:latin typeface="Poppins Semi-Bold"/>
              </a:rPr>
              <a:t>жеке</a:t>
            </a:r>
            <a:r>
              <a:rPr lang="ru-RU" altLang="x-none" sz="1200" dirty="0">
                <a:solidFill>
                  <a:srgbClr val="000000"/>
                </a:solidFill>
                <a:latin typeface="Poppins Semi-Bold"/>
              </a:rPr>
              <a:t> </a:t>
            </a:r>
            <a:r>
              <a:rPr lang="ru-RU" altLang="x-none" sz="1200" dirty="0" err="1">
                <a:solidFill>
                  <a:srgbClr val="000000"/>
                </a:solidFill>
                <a:latin typeface="Poppins Semi-Bold"/>
              </a:rPr>
              <a:t>тұлғалар</a:t>
            </a:r>
            <a:r>
              <a:rPr lang="ru-RU" altLang="x-none" sz="1200" dirty="0">
                <a:solidFill>
                  <a:srgbClr val="000000"/>
                </a:solidFill>
                <a:latin typeface="Poppins Semi-Bold"/>
              </a:rPr>
              <a:t> </a:t>
            </a:r>
            <a:r>
              <a:rPr lang="ru-RU" altLang="x-none" sz="1200" dirty="0" err="1">
                <a:solidFill>
                  <a:srgbClr val="000000"/>
                </a:solidFill>
                <a:latin typeface="Poppins Semi-Bold"/>
              </a:rPr>
              <a:t>туралы</a:t>
            </a:r>
            <a:r>
              <a:rPr lang="ru-RU" altLang="x-none" sz="1200" dirty="0">
                <a:solidFill>
                  <a:srgbClr val="000000"/>
                </a:solidFill>
                <a:latin typeface="Poppins Semi-Bold"/>
              </a:rPr>
              <a:t> </a:t>
            </a:r>
            <a:r>
              <a:rPr lang="ru-RU" altLang="x-none" sz="1200" dirty="0" err="1">
                <a:solidFill>
                  <a:srgbClr val="000000"/>
                </a:solidFill>
                <a:latin typeface="Poppins Semi-Bold"/>
              </a:rPr>
              <a:t>ақпаратты</a:t>
            </a:r>
            <a:r>
              <a:rPr lang="ru-RU" altLang="x-none" sz="1200" dirty="0">
                <a:solidFill>
                  <a:srgbClr val="000000"/>
                </a:solidFill>
                <a:latin typeface="Poppins Semi-Bold"/>
              </a:rPr>
              <a:t> </a:t>
            </a:r>
            <a:r>
              <a:rPr lang="ru-RU" altLang="x-none" sz="1200" dirty="0" err="1">
                <a:solidFill>
                  <a:srgbClr val="000000"/>
                </a:solidFill>
                <a:latin typeface="Poppins Semi-Bold"/>
              </a:rPr>
              <a:t>қалыптастыру</a:t>
            </a:r>
            <a:r>
              <a:rPr lang="ru-RU" altLang="x-none" sz="1200" dirty="0">
                <a:solidFill>
                  <a:srgbClr val="000000"/>
                </a:solidFill>
                <a:latin typeface="Poppins Semi-Bold"/>
              </a:rPr>
              <a:t> </a:t>
            </a:r>
            <a:r>
              <a:rPr lang="ru-RU" altLang="x-none" sz="1200" dirty="0" err="1">
                <a:solidFill>
                  <a:srgbClr val="000000"/>
                </a:solidFill>
                <a:latin typeface="Poppins Semi-Bold"/>
              </a:rPr>
              <a:t>және</a:t>
            </a:r>
            <a:r>
              <a:rPr lang="ru-RU" altLang="x-none" sz="1200" dirty="0">
                <a:solidFill>
                  <a:srgbClr val="000000"/>
                </a:solidFill>
                <a:latin typeface="Poppins Semi-Bold"/>
              </a:rPr>
              <a:t> беру</a:t>
            </a:r>
            <a:endParaRPr lang="ru-RU" altLang="ru-RU" sz="1200" dirty="0">
              <a:latin typeface="Poppins Semi-Bold"/>
            </a:endParaRPr>
          </a:p>
        </p:txBody>
      </p:sp>
      <p:sp>
        <p:nvSpPr>
          <p:cNvPr id="11274" name="TextBox 62">
            <a:extLst>
              <a:ext uri="{FF2B5EF4-FFF2-40B4-BE49-F238E27FC236}">
                <a16:creationId xmlns:a16="http://schemas.microsoft.com/office/drawing/2014/main" id="{D21DA5C9-76B8-1234-E1DD-A798230206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801" y="1618051"/>
            <a:ext cx="221456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dirty="0" err="1">
                <a:latin typeface="Poppins Semi-Bold"/>
              </a:rPr>
              <a:t>Ақпаратты</a:t>
            </a:r>
            <a:r>
              <a:rPr lang="ru-RU" altLang="ru-RU" sz="1200" dirty="0">
                <a:latin typeface="Poppins Semi-Bold"/>
              </a:rPr>
              <a:t> </a:t>
            </a:r>
            <a:r>
              <a:rPr lang="ru-RU" altLang="ru-RU" sz="1200" dirty="0" err="1">
                <a:latin typeface="Poppins Semi-Bold"/>
              </a:rPr>
              <a:t>енгізу</a:t>
            </a:r>
            <a:r>
              <a:rPr lang="ru-RU" altLang="ru-RU" sz="1200" dirty="0">
                <a:latin typeface="Poppins Semi-Bold"/>
              </a:rPr>
              <a:t>, </a:t>
            </a:r>
            <a:r>
              <a:rPr lang="ru-RU" altLang="ru-RU" sz="1200" dirty="0" err="1">
                <a:latin typeface="Poppins Semi-Bold"/>
              </a:rPr>
              <a:t>деректерді</a:t>
            </a:r>
            <a:r>
              <a:rPr lang="ru-RU" altLang="ru-RU" sz="1200" dirty="0">
                <a:latin typeface="Poppins Semi-Bold"/>
              </a:rPr>
              <a:t> </a:t>
            </a:r>
            <a:r>
              <a:rPr lang="ru-RU" altLang="ru-RU" sz="1200" dirty="0" err="1">
                <a:latin typeface="Poppins Semi-Bold"/>
              </a:rPr>
              <a:t>пайдалану</a:t>
            </a:r>
            <a:r>
              <a:rPr lang="ru-RU" altLang="ru-RU" sz="1200" dirty="0">
                <a:latin typeface="Poppins Semi-Bold"/>
              </a:rPr>
              <a:t>, </a:t>
            </a:r>
            <a:r>
              <a:rPr lang="ru-RU" altLang="ru-RU" sz="1200" dirty="0" err="1">
                <a:latin typeface="Poppins Semi-Bold"/>
              </a:rPr>
              <a:t>қызметтерді</a:t>
            </a:r>
            <a:r>
              <a:rPr lang="ru-RU" altLang="ru-RU" sz="1200" dirty="0">
                <a:latin typeface="Poppins Semi-Bold"/>
              </a:rPr>
              <a:t> </a:t>
            </a:r>
            <a:r>
              <a:rPr lang="ru-RU" altLang="ru-RU" sz="1200" dirty="0" err="1">
                <a:latin typeface="Poppins Semi-Bold"/>
              </a:rPr>
              <a:t>алу</a:t>
            </a:r>
            <a:endParaRPr lang="ru-RU" altLang="ru-RU" sz="1200" dirty="0">
              <a:latin typeface="Poppins Semi-Bold"/>
            </a:endParaRPr>
          </a:p>
        </p:txBody>
      </p:sp>
      <p:sp>
        <p:nvSpPr>
          <p:cNvPr id="11282" name="TextBox 78">
            <a:extLst>
              <a:ext uri="{FF2B5EF4-FFF2-40B4-BE49-F238E27FC236}">
                <a16:creationId xmlns:a16="http://schemas.microsoft.com/office/drawing/2014/main" id="{D9AC0832-A63D-52B0-A682-2CBCE417ED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43262" y="3412912"/>
            <a:ext cx="102076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latin typeface="Poppins Semi-Bold"/>
                <a:cs typeface="Arial" panose="020B0604020202020204" pitchFamily="34" charset="0"/>
              </a:rPr>
              <a:t>1 МО АЖ</a:t>
            </a:r>
          </a:p>
        </p:txBody>
      </p:sp>
      <p:sp>
        <p:nvSpPr>
          <p:cNvPr id="11283" name="TextBox 79">
            <a:extLst>
              <a:ext uri="{FF2B5EF4-FFF2-40B4-BE49-F238E27FC236}">
                <a16:creationId xmlns:a16="http://schemas.microsoft.com/office/drawing/2014/main" id="{2199C82E-F1CC-4DD4-FFBE-1B959F6A9D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03044" y="4689266"/>
            <a:ext cx="1020762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latin typeface="Poppins Semi-Bold"/>
                <a:cs typeface="Arial" panose="020B0604020202020204" pitchFamily="34" charset="0"/>
              </a:rPr>
              <a:t>3 МО АЖ</a:t>
            </a:r>
          </a:p>
        </p:txBody>
      </p:sp>
      <p:sp>
        <p:nvSpPr>
          <p:cNvPr id="11284" name="TextBox 80">
            <a:extLst>
              <a:ext uri="{FF2B5EF4-FFF2-40B4-BE49-F238E27FC236}">
                <a16:creationId xmlns:a16="http://schemas.microsoft.com/office/drawing/2014/main" id="{2BD093D3-0301-25A1-F33E-24F6686F34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29100" y="3412595"/>
            <a:ext cx="10223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latin typeface="Poppins Semi-Bold"/>
                <a:cs typeface="Arial" panose="020B0604020202020204" pitchFamily="34" charset="0"/>
              </a:rPr>
              <a:t>2 МО АЖ</a:t>
            </a:r>
          </a:p>
        </p:txBody>
      </p:sp>
      <p:sp>
        <p:nvSpPr>
          <p:cNvPr id="11285" name="TextBox 81">
            <a:extLst>
              <a:ext uri="{FF2B5EF4-FFF2-40B4-BE49-F238E27FC236}">
                <a16:creationId xmlns:a16="http://schemas.microsoft.com/office/drawing/2014/main" id="{00AF3516-1488-FB21-ABD8-9B146D16B7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09193" y="4671562"/>
            <a:ext cx="10223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latin typeface="Poppins Semi-Bold"/>
                <a:cs typeface="Arial" panose="020B0604020202020204" pitchFamily="34" charset="0"/>
              </a:rPr>
              <a:t>4 МО АЖ</a:t>
            </a:r>
          </a:p>
        </p:txBody>
      </p:sp>
      <p:pic>
        <p:nvPicPr>
          <p:cNvPr id="11286" name="Рисунок 49">
            <a:extLst>
              <a:ext uri="{FF2B5EF4-FFF2-40B4-BE49-F238E27FC236}">
                <a16:creationId xmlns:a16="http://schemas.microsoft.com/office/drawing/2014/main" id="{E4EE8ADD-CC01-AB90-E78D-5606615F8F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3240456" y="2604989"/>
            <a:ext cx="718890" cy="825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Рисунок 67" descr="Профессор">
            <a:extLst>
              <a:ext uri="{FF2B5EF4-FFF2-40B4-BE49-F238E27FC236}">
                <a16:creationId xmlns:a16="http://schemas.microsoft.com/office/drawing/2014/main" id="{227C645F-96B2-777C-944C-459A3F074C3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38774" y="3659144"/>
            <a:ext cx="430314" cy="430314"/>
          </a:xfrm>
          <a:prstGeom prst="rect">
            <a:avLst/>
          </a:prstGeom>
        </p:spPr>
      </p:pic>
      <p:sp>
        <p:nvSpPr>
          <p:cNvPr id="11276" name="TextBox 18">
            <a:extLst>
              <a:ext uri="{FF2B5EF4-FFF2-40B4-BE49-F238E27FC236}">
                <a16:creationId xmlns:a16="http://schemas.microsoft.com/office/drawing/2014/main" id="{A8B0C0C8-B014-27B1-2A41-4E8C92030E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7003" y="3763863"/>
            <a:ext cx="1335589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 dirty="0" err="1">
                <a:latin typeface="Poppins Semi-Bold"/>
                <a:cs typeface="Arial" panose="020B0604020202020204" pitchFamily="34" charset="0"/>
              </a:rPr>
              <a:t>Оқу</a:t>
            </a:r>
            <a:r>
              <a:rPr lang="ru-RU" altLang="ru-RU" sz="1050" b="1" dirty="0">
                <a:latin typeface="Poppins Semi-Bold"/>
                <a:cs typeface="Arial" panose="020B0604020202020204" pitchFamily="34" charset="0"/>
              </a:rPr>
              <a:t> </a:t>
            </a:r>
            <a:r>
              <a:rPr lang="ru-RU" altLang="ru-RU" sz="1050" b="1" dirty="0" err="1">
                <a:latin typeface="Poppins Semi-Bold"/>
                <a:cs typeface="Arial" panose="020B0604020202020204" pitchFamily="34" charset="0"/>
              </a:rPr>
              <a:t>орталықтары</a:t>
            </a:r>
            <a:endParaRPr lang="ru-RU" altLang="ru-RU" sz="1050" b="1" dirty="0">
              <a:latin typeface="Poppins Semi-Bold"/>
              <a:cs typeface="Arial" panose="020B0604020202020204" pitchFamily="34" charset="0"/>
            </a:endParaRPr>
          </a:p>
        </p:txBody>
      </p:sp>
      <p:pic>
        <p:nvPicPr>
          <p:cNvPr id="69" name="Рисунок 68" descr="Офисный работник">
            <a:extLst>
              <a:ext uri="{FF2B5EF4-FFF2-40B4-BE49-F238E27FC236}">
                <a16:creationId xmlns:a16="http://schemas.microsoft.com/office/drawing/2014/main" id="{C110EF33-2665-E322-43C8-B8E09FA8091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6B58BC"/>
              </a:clrFrom>
              <a:clrTo>
                <a:srgbClr val="6B58BC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48217" y="2504804"/>
            <a:ext cx="422881" cy="422881"/>
          </a:xfrm>
          <a:prstGeom prst="rect">
            <a:avLst/>
          </a:prstGeom>
        </p:spPr>
      </p:pic>
      <p:sp>
        <p:nvSpPr>
          <p:cNvPr id="11278" name="TextBox 69">
            <a:extLst>
              <a:ext uri="{FF2B5EF4-FFF2-40B4-BE49-F238E27FC236}">
                <a16:creationId xmlns:a16="http://schemas.microsoft.com/office/drawing/2014/main" id="{16541344-F0F4-9F99-5F5A-4B523ADBDE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6723" y="2512292"/>
            <a:ext cx="160652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 dirty="0" err="1">
                <a:latin typeface="Poppins Semi-Bold"/>
                <a:cs typeface="Arial" panose="020B0604020202020204" pitchFamily="34" charset="0"/>
              </a:rPr>
              <a:t>Жұмыс</a:t>
            </a:r>
            <a:r>
              <a:rPr lang="ru-RU" altLang="ru-RU" sz="1050" b="1" dirty="0">
                <a:latin typeface="Poppins Semi-Bold"/>
                <a:cs typeface="Arial" panose="020B0604020202020204" pitchFamily="34" charset="0"/>
              </a:rPr>
              <a:t> </a:t>
            </a:r>
            <a:r>
              <a:rPr lang="ru-RU" altLang="ru-RU" sz="1050" b="1" dirty="0" err="1">
                <a:latin typeface="Poppins Semi-Bold"/>
                <a:cs typeface="Arial" panose="020B0604020202020204" pitchFamily="34" charset="0"/>
              </a:rPr>
              <a:t>берушілер</a:t>
            </a:r>
            <a:r>
              <a:rPr lang="ru-RU" altLang="ru-RU" sz="1050" b="1" dirty="0">
                <a:latin typeface="Poppins Semi-Bold"/>
                <a:cs typeface="Arial" panose="020B0604020202020204" pitchFamily="34" charset="0"/>
              </a:rPr>
              <a:t> </a:t>
            </a:r>
            <a:r>
              <a:rPr lang="ru-RU" altLang="ru-RU" sz="1050" b="1" dirty="0" err="1">
                <a:latin typeface="Poppins Semi-Bold"/>
                <a:cs typeface="Arial" panose="020B0604020202020204" pitchFamily="34" charset="0"/>
              </a:rPr>
              <a:t>және</a:t>
            </a:r>
            <a:r>
              <a:rPr lang="ru-RU" altLang="ru-RU" sz="1050" b="1" dirty="0">
                <a:latin typeface="Poppins Semi-Bold"/>
                <a:cs typeface="Arial" panose="020B0604020202020204" pitchFamily="34" charset="0"/>
              </a:rPr>
              <a:t> </a:t>
            </a:r>
            <a:r>
              <a:rPr lang="ru-RU" altLang="ru-RU" sz="1050" b="1" dirty="0" err="1">
                <a:latin typeface="Poppins Semi-Bold"/>
                <a:cs typeface="Arial" panose="020B0604020202020204" pitchFamily="34" charset="0"/>
              </a:rPr>
              <a:t>олардың</a:t>
            </a:r>
            <a:r>
              <a:rPr lang="ru-RU" altLang="ru-RU" sz="1050" b="1" dirty="0">
                <a:latin typeface="Poppins Semi-Bold"/>
                <a:cs typeface="Arial" panose="020B0604020202020204" pitchFamily="34" charset="0"/>
              </a:rPr>
              <a:t> </a:t>
            </a:r>
            <a:r>
              <a:rPr lang="ru-RU" altLang="ru-RU" sz="1050" b="1" dirty="0" err="1">
                <a:latin typeface="Poppins Semi-Bold"/>
                <a:cs typeface="Arial" panose="020B0604020202020204" pitchFamily="34" charset="0"/>
              </a:rPr>
              <a:t>өкілдері</a:t>
            </a:r>
            <a:endParaRPr lang="ru-RU" altLang="ru-RU" sz="1050" b="1" dirty="0">
              <a:latin typeface="Poppins Semi-Bold"/>
              <a:cs typeface="Arial" panose="020B0604020202020204" pitchFamily="34" charset="0"/>
            </a:endParaRPr>
          </a:p>
        </p:txBody>
      </p:sp>
      <p:pic>
        <p:nvPicPr>
          <p:cNvPr id="11279" name="Рисунок 70" descr="Ученый">
            <a:extLst>
              <a:ext uri="{FF2B5EF4-FFF2-40B4-BE49-F238E27FC236}">
                <a16:creationId xmlns:a16="http://schemas.microsoft.com/office/drawing/2014/main" id="{8DB809AF-D880-0F42-FE8F-51C29BACF5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784" y="4215819"/>
            <a:ext cx="430227" cy="457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80" name="TextBox 71">
            <a:extLst>
              <a:ext uri="{FF2B5EF4-FFF2-40B4-BE49-F238E27FC236}">
                <a16:creationId xmlns:a16="http://schemas.microsoft.com/office/drawing/2014/main" id="{6002654B-7514-232B-A241-52EDA3B71F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2657" y="4353435"/>
            <a:ext cx="1390635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 dirty="0" err="1">
                <a:latin typeface="Poppins Semi-Bold"/>
                <a:cs typeface="Arial" panose="020B0604020202020204" pitchFamily="34" charset="0"/>
              </a:rPr>
              <a:t>Арнайы</a:t>
            </a:r>
            <a:r>
              <a:rPr lang="ru-RU" altLang="ru-RU" sz="1050" b="1" dirty="0">
                <a:latin typeface="Poppins Semi-Bold"/>
                <a:cs typeface="Arial" panose="020B0604020202020204" pitchFamily="34" charset="0"/>
              </a:rPr>
              <a:t> </a:t>
            </a:r>
            <a:r>
              <a:rPr lang="ru-RU" altLang="ru-RU" sz="1050" b="1" dirty="0" err="1">
                <a:latin typeface="Poppins Semi-Bold"/>
                <a:cs typeface="Arial" panose="020B0604020202020204" pitchFamily="34" charset="0"/>
              </a:rPr>
              <a:t>ұйымдар</a:t>
            </a:r>
            <a:endParaRPr lang="ru-RU" altLang="ru-RU" sz="1050" b="1" dirty="0">
              <a:latin typeface="Poppins Semi-Bold"/>
              <a:cs typeface="Arial" panose="020B0604020202020204" pitchFamily="34" charset="0"/>
            </a:endParaRPr>
          </a:p>
        </p:txBody>
      </p:sp>
      <p:sp>
        <p:nvSpPr>
          <p:cNvPr id="11281" name="TextBox 72">
            <a:extLst>
              <a:ext uri="{FF2B5EF4-FFF2-40B4-BE49-F238E27FC236}">
                <a16:creationId xmlns:a16="http://schemas.microsoft.com/office/drawing/2014/main" id="{47EA25C6-B028-4882-EB4F-8C8961D808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1348" y="4814083"/>
            <a:ext cx="1706425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 dirty="0" err="1">
                <a:latin typeface="Poppins Semi-Bold"/>
                <a:cs typeface="Arial" panose="020B0604020202020204" pitchFamily="34" charset="0"/>
              </a:rPr>
              <a:t>Мүдделі</a:t>
            </a:r>
            <a:r>
              <a:rPr lang="ru-RU" altLang="ru-RU" sz="1050" b="1" dirty="0">
                <a:latin typeface="Poppins Semi-Bold"/>
                <a:cs typeface="Arial" panose="020B0604020202020204" pitchFamily="34" charset="0"/>
              </a:rPr>
              <a:t> </a:t>
            </a:r>
            <a:r>
              <a:rPr lang="ru-RU" altLang="ru-RU" sz="1050" b="1" dirty="0" err="1">
                <a:latin typeface="Poppins Semi-Bold"/>
                <a:cs typeface="Arial" panose="020B0604020202020204" pitchFamily="34" charset="0"/>
              </a:rPr>
              <a:t>ұйымдар</a:t>
            </a:r>
            <a:endParaRPr lang="ru-RU" altLang="ru-RU" sz="1050" b="1" dirty="0">
              <a:latin typeface="Poppins Semi-Bold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 dirty="0">
                <a:latin typeface="Poppins Semi-Bold"/>
                <a:cs typeface="Arial" panose="020B0604020202020204" pitchFamily="34" charset="0"/>
              </a:rPr>
              <a:t>(</a:t>
            </a:r>
            <a:r>
              <a:rPr lang="kk-KZ" altLang="ru-RU" sz="800" dirty="0">
                <a:latin typeface="Poppins Semi-Bold"/>
                <a:cs typeface="Arial" panose="020B0604020202020204" pitchFamily="34" charset="0"/>
              </a:rPr>
              <a:t>МӘСҚ</a:t>
            </a:r>
            <a:r>
              <a:rPr lang="en-US" altLang="ru-RU" sz="800" dirty="0">
                <a:latin typeface="Poppins Semi-Bold"/>
                <a:cs typeface="Arial" panose="020B0604020202020204" pitchFamily="34" charset="0"/>
              </a:rPr>
              <a:t>, </a:t>
            </a:r>
            <a:r>
              <a:rPr lang="kk-KZ" altLang="ru-RU" sz="800" dirty="0">
                <a:latin typeface="Poppins Semi-Bold"/>
                <a:cs typeface="Arial" panose="020B0604020202020204" pitchFamily="34" charset="0"/>
              </a:rPr>
              <a:t>ӨСК</a:t>
            </a:r>
            <a:r>
              <a:rPr lang="en-US" altLang="ru-RU" sz="800" dirty="0">
                <a:latin typeface="Poppins Semi-Bold"/>
                <a:cs typeface="Arial" panose="020B0604020202020204" pitchFamily="34" charset="0"/>
              </a:rPr>
              <a:t>, </a:t>
            </a:r>
            <a:r>
              <a:rPr lang="ru-RU" altLang="ru-RU" sz="800" dirty="0" err="1">
                <a:latin typeface="Poppins Semi-Bold"/>
                <a:cs typeface="Arial" panose="020B0604020202020204" pitchFamily="34" charset="0"/>
              </a:rPr>
              <a:t>медициналық</a:t>
            </a:r>
            <a:r>
              <a:rPr lang="ru-RU" altLang="ru-RU" sz="800" dirty="0">
                <a:latin typeface="Poppins Semi-Bold"/>
                <a:cs typeface="Arial" panose="020B0604020202020204" pitchFamily="34" charset="0"/>
              </a:rPr>
              <a:t> </a:t>
            </a:r>
            <a:r>
              <a:rPr lang="ru-RU" altLang="ru-RU" sz="800" dirty="0" err="1">
                <a:latin typeface="Poppins Semi-Bold"/>
                <a:cs typeface="Arial" panose="020B0604020202020204" pitchFamily="34" charset="0"/>
              </a:rPr>
              <a:t>ұйымдар</a:t>
            </a:r>
            <a:r>
              <a:rPr lang="ru-RU" altLang="ru-RU" sz="800" dirty="0">
                <a:latin typeface="Poppins Semi-Bold"/>
                <a:cs typeface="Arial" panose="020B0604020202020204" pitchFamily="34" charset="0"/>
              </a:rPr>
              <a:t> </a:t>
            </a:r>
            <a:r>
              <a:rPr lang="ru-RU" altLang="ru-RU" sz="800" dirty="0" err="1">
                <a:latin typeface="Poppins Semi-Bold"/>
                <a:cs typeface="Arial" panose="020B0604020202020204" pitchFamily="34" charset="0"/>
              </a:rPr>
              <a:t>және</a:t>
            </a:r>
            <a:r>
              <a:rPr lang="ru-RU" altLang="ru-RU" sz="800" dirty="0">
                <a:latin typeface="Poppins Semi-Bold"/>
                <a:cs typeface="Arial" panose="020B0604020202020204" pitchFamily="34" charset="0"/>
              </a:rPr>
              <a:t> </a:t>
            </a:r>
            <a:r>
              <a:rPr lang="ru-RU" altLang="ru-RU" sz="800" dirty="0" err="1">
                <a:latin typeface="Poppins Semi-Bold"/>
                <a:cs typeface="Arial" panose="020B0604020202020204" pitchFamily="34" charset="0"/>
              </a:rPr>
              <a:t>т.б</a:t>
            </a:r>
            <a:r>
              <a:rPr lang="ru-RU" altLang="ru-RU" sz="800" dirty="0">
                <a:latin typeface="Poppins Semi-Bold"/>
                <a:cs typeface="Arial" panose="020B0604020202020204" pitchFamily="34" charset="0"/>
              </a:rPr>
              <a:t>.)</a:t>
            </a:r>
          </a:p>
        </p:txBody>
      </p:sp>
      <p:pic>
        <p:nvPicPr>
          <p:cNvPr id="47" name="Рисунок 46" descr="Пожарный">
            <a:extLst>
              <a:ext uri="{FF2B5EF4-FFF2-40B4-BE49-F238E27FC236}">
                <a16:creationId xmlns:a16="http://schemas.microsoft.com/office/drawing/2014/main" id="{BE1705ED-935C-CF2A-1BA2-B876AB94483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43681" y="3117447"/>
            <a:ext cx="427417" cy="427417"/>
          </a:xfrm>
          <a:prstGeom prst="rect">
            <a:avLst/>
          </a:prstGeom>
        </p:spPr>
      </p:pic>
      <p:sp>
        <p:nvSpPr>
          <p:cNvPr id="11293" name="TextBox 47">
            <a:extLst>
              <a:ext uri="{FF2B5EF4-FFF2-40B4-BE49-F238E27FC236}">
                <a16:creationId xmlns:a16="http://schemas.microsoft.com/office/drawing/2014/main" id="{A6C0686D-B970-546E-830F-A7E40AEC11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1067" y="3119246"/>
            <a:ext cx="1602177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 dirty="0" err="1">
                <a:latin typeface="Poppins Semi-Bold"/>
                <a:cs typeface="Arial" panose="020B0604020202020204" pitchFamily="34" charset="0"/>
              </a:rPr>
              <a:t>Жұмыс</a:t>
            </a:r>
            <a:r>
              <a:rPr lang="ru-RU" altLang="ru-RU" sz="1050" b="1" dirty="0">
                <a:latin typeface="Poppins Semi-Bold"/>
                <a:cs typeface="Arial" panose="020B0604020202020204" pitchFamily="34" charset="0"/>
              </a:rPr>
              <a:t> </a:t>
            </a:r>
            <a:r>
              <a:rPr lang="ru-RU" altLang="ru-RU" sz="1050" b="1" dirty="0" err="1">
                <a:latin typeface="Poppins Semi-Bold"/>
                <a:cs typeface="Arial" panose="020B0604020202020204" pitchFamily="34" charset="0"/>
              </a:rPr>
              <a:t>берушілер</a:t>
            </a:r>
            <a:r>
              <a:rPr lang="ru-RU" altLang="ru-RU" sz="1050" b="1" dirty="0">
                <a:latin typeface="Poppins Semi-Bold"/>
                <a:cs typeface="Arial" panose="020B0604020202020204" pitchFamily="34" charset="0"/>
              </a:rPr>
              <a:t> </a:t>
            </a:r>
            <a:r>
              <a:rPr lang="ru-RU" altLang="ru-RU" sz="1050" b="1" dirty="0" err="1">
                <a:latin typeface="Poppins Semi-Bold"/>
                <a:cs typeface="Arial" panose="020B0604020202020204" pitchFamily="34" charset="0"/>
              </a:rPr>
              <a:t>және</a:t>
            </a:r>
            <a:r>
              <a:rPr lang="ru-RU" altLang="ru-RU" sz="1050" b="1" dirty="0">
                <a:latin typeface="Poppins Semi-Bold"/>
                <a:cs typeface="Arial" panose="020B0604020202020204" pitchFamily="34" charset="0"/>
              </a:rPr>
              <a:t> </a:t>
            </a:r>
            <a:r>
              <a:rPr lang="ru-RU" altLang="ru-RU" sz="1050" b="1" dirty="0" err="1">
                <a:latin typeface="Poppins Semi-Bold"/>
                <a:cs typeface="Arial" panose="020B0604020202020204" pitchFamily="34" charset="0"/>
              </a:rPr>
              <a:t>олардың</a:t>
            </a:r>
            <a:r>
              <a:rPr lang="ru-RU" altLang="ru-RU" sz="1050" b="1" dirty="0">
                <a:latin typeface="Poppins Semi-Bold"/>
                <a:cs typeface="Arial" panose="020B0604020202020204" pitchFamily="34" charset="0"/>
              </a:rPr>
              <a:t> </a:t>
            </a:r>
            <a:r>
              <a:rPr lang="ru-RU" altLang="ru-RU" sz="1050" b="1" dirty="0" err="1">
                <a:latin typeface="Poppins Semi-Bold"/>
                <a:cs typeface="Arial" panose="020B0604020202020204" pitchFamily="34" charset="0"/>
              </a:rPr>
              <a:t>өкілдері</a:t>
            </a:r>
            <a:endParaRPr lang="ru-RU" altLang="ru-RU" sz="1050" b="1" dirty="0">
              <a:latin typeface="Poppins Semi-Bold"/>
              <a:cs typeface="Arial" panose="020B0604020202020204" pitchFamily="34" charset="0"/>
            </a:endParaRPr>
          </a:p>
        </p:txBody>
      </p:sp>
      <p:pic>
        <p:nvPicPr>
          <p:cNvPr id="52" name="Рисунок 51" descr="Суд">
            <a:extLst>
              <a:ext uri="{FF2B5EF4-FFF2-40B4-BE49-F238E27FC236}">
                <a16:creationId xmlns:a16="http://schemas.microsoft.com/office/drawing/2014/main" id="{432CC872-981B-EEEB-9FC6-3BFFA14237D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24855" y="4800942"/>
            <a:ext cx="430315" cy="430315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24F6CF2F-B0E3-60E5-A9FD-4F9BE960E539}"/>
              </a:ext>
            </a:extLst>
          </p:cNvPr>
          <p:cNvSpPr txBox="1"/>
          <p:nvPr/>
        </p:nvSpPr>
        <p:spPr>
          <a:xfrm>
            <a:off x="5453318" y="1104558"/>
            <a:ext cx="2203450" cy="368300"/>
          </a:xfrm>
          <a:prstGeom prst="homePlate">
            <a:avLst/>
          </a:prstGeom>
          <a:solidFill>
            <a:srgbClr val="295E7E"/>
          </a:solidFill>
          <a:ln>
            <a:noFill/>
          </a:ln>
        </p:spPr>
        <p:txBody>
          <a:bodyPr>
            <a:spAutoFit/>
          </a:bodyPr>
          <a:lstStyle>
            <a:defPPr lvl="0">
              <a:defRPr lang="ru-RU"/>
            </a:defPPr>
            <a:lvl1pPr lvl="0" algn="ctr">
              <a:defRPr b="1">
                <a:latin typeface="Calibri Light" panose="020F0302020204030204" pitchFamily="34" charset="0"/>
              </a:defRPr>
            </a:lvl1pPr>
            <a:lvl2pPr lvl="1"/>
            <a:lvl3pPr lvl="2"/>
            <a:lvl4pPr lvl="3"/>
            <a:lvl5pPr lvl="4"/>
            <a:lvl6pPr lvl="5"/>
            <a:lvl7pPr lvl="6"/>
            <a:lvl8pPr lvl="7"/>
            <a:lvl9pPr lvl="8"/>
          </a:lstStyle>
          <a:p>
            <a:pPr>
              <a:defRPr/>
            </a:pPr>
            <a:r>
              <a:rPr lang="ru-RU" dirty="0">
                <a:solidFill>
                  <a:schemeClr val="bg1"/>
                </a:solidFill>
                <a:latin typeface="Poppins Semi-Bold"/>
              </a:rPr>
              <a:t>ЦДИАӨМ </a:t>
            </a:r>
            <a:r>
              <a:rPr lang="ru-RU" dirty="0" err="1">
                <a:solidFill>
                  <a:schemeClr val="bg1"/>
                </a:solidFill>
                <a:latin typeface="Poppins Semi-Bold"/>
              </a:rPr>
              <a:t>аймағы</a:t>
            </a:r>
            <a:endParaRPr lang="ru-RU" dirty="0">
              <a:solidFill>
                <a:schemeClr val="bg1"/>
              </a:solidFill>
              <a:latin typeface="Poppins Semi-Bold"/>
            </a:endParaRPr>
          </a:p>
        </p:txBody>
      </p:sp>
      <p:sp>
        <p:nvSpPr>
          <p:cNvPr id="11299" name="TextBox 52">
            <a:extLst>
              <a:ext uri="{FF2B5EF4-FFF2-40B4-BE49-F238E27FC236}">
                <a16:creationId xmlns:a16="http://schemas.microsoft.com/office/drawing/2014/main" id="{7123FF73-7FB4-97F9-418B-D06C4B9C93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83644" y="3069861"/>
            <a:ext cx="2090754" cy="187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1450" indent="-171450" eaLnBrk="1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altLang="x-none" sz="800" b="1" dirty="0">
                <a:latin typeface="Poppins Semi-Bold"/>
                <a:cs typeface="Arial" panose="020B0604020202020204" pitchFamily="34" charset="0"/>
              </a:rPr>
              <a:t>ТӘУЕКЕЛДІ КӘСІБИ БАҒАЛАУ</a:t>
            </a:r>
          </a:p>
          <a:p>
            <a:pPr marL="171450" indent="-171450" eaLnBrk="1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altLang="x-none" sz="800" b="1" dirty="0">
                <a:latin typeface="Poppins Semi-Bold"/>
                <a:cs typeface="Arial" panose="020B0604020202020204" pitchFamily="34" charset="0"/>
              </a:rPr>
              <a:t>БІЛІМ БЕРУ</a:t>
            </a:r>
          </a:p>
          <a:p>
            <a:pPr marL="171450" indent="-171450" eaLnBrk="1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altLang="x-none" sz="800" b="1" dirty="0">
                <a:latin typeface="Poppins Semi-Bold"/>
                <a:cs typeface="Arial" panose="020B0604020202020204" pitchFamily="34" charset="0"/>
              </a:rPr>
              <a:t>ӘЛЕУМЕТТІК КЕПІЛДІКТЕР</a:t>
            </a:r>
          </a:p>
          <a:p>
            <a:pPr marL="171450" indent="-171450" eaLnBrk="1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altLang="x-none" sz="800" b="1" dirty="0">
                <a:latin typeface="Poppins Semi-Bold"/>
                <a:cs typeface="Arial" panose="020B0604020202020204" pitchFamily="34" charset="0"/>
              </a:rPr>
              <a:t>ЖҚҚ</a:t>
            </a:r>
          </a:p>
          <a:p>
            <a:pPr marL="171450" indent="-171450" eaLnBrk="1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altLang="x-none" sz="800" b="1" dirty="0">
                <a:latin typeface="Poppins Semi-Bold"/>
                <a:cs typeface="Arial" panose="020B0604020202020204" pitchFamily="34" charset="0"/>
              </a:rPr>
              <a:t>ТӘУЕКЕЛ ЖАҒДАЙЛАР</a:t>
            </a:r>
          </a:p>
          <a:p>
            <a:pPr marL="171450" indent="-171450" eaLnBrk="1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altLang="x-none" sz="800" b="1" dirty="0">
                <a:latin typeface="Poppins Semi-Bold"/>
                <a:cs typeface="Arial" panose="020B0604020202020204" pitchFamily="34" charset="0"/>
              </a:rPr>
              <a:t>ЕҢБЕГІ ҚАУІПСІЗДІК ШЫҒЫНДАРЫ</a:t>
            </a:r>
          </a:p>
          <a:p>
            <a:pPr marL="171450" indent="-171450" eaLnBrk="1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altLang="x-none" sz="800" b="1" dirty="0">
                <a:latin typeface="Poppins Semi-Bold"/>
                <a:cs typeface="Arial" panose="020B0604020202020204" pitchFamily="34" charset="0"/>
              </a:rPr>
              <a:t>САҚТАНДЫРУ</a:t>
            </a:r>
            <a:endParaRPr lang="ru-RU" altLang="x-none" sz="900" b="1" dirty="0">
              <a:latin typeface="Poppins Semi-Bold"/>
              <a:cs typeface="Arial" panose="020B0604020202020204" pitchFamily="34" charset="0"/>
            </a:endParaRPr>
          </a:p>
        </p:txBody>
      </p:sp>
      <p:pic>
        <p:nvPicPr>
          <p:cNvPr id="11301" name="Рисунок 53">
            <a:extLst>
              <a:ext uri="{FF2B5EF4-FFF2-40B4-BE49-F238E27FC236}">
                <a16:creationId xmlns:a16="http://schemas.microsoft.com/office/drawing/2014/main" id="{AB267435-C048-E14C-E30D-2FC81FCC0E3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29" t="13114" r="19058" b="13848"/>
          <a:stretch/>
        </p:blipFill>
        <p:spPr bwMode="auto">
          <a:xfrm rot="5400000">
            <a:off x="5648657" y="2633624"/>
            <a:ext cx="1530983" cy="2040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302" name="TextBox 57">
            <a:extLst>
              <a:ext uri="{FF2B5EF4-FFF2-40B4-BE49-F238E27FC236}">
                <a16:creationId xmlns:a16="http://schemas.microsoft.com/office/drawing/2014/main" id="{211E09B6-9A58-27F3-8749-3A93957775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23268" y="1606550"/>
            <a:ext cx="223349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x-none" sz="1200" dirty="0">
                <a:solidFill>
                  <a:srgbClr val="000000"/>
                </a:solidFill>
                <a:latin typeface="Poppins Semi-Bold"/>
              </a:rPr>
              <a:t>Заңды және жеке тұлғалар туралы дербестендірілген деректерді жинау және өңдеу</a:t>
            </a:r>
            <a:endParaRPr lang="ru-RU" altLang="x-none" sz="1200" dirty="0">
              <a:solidFill>
                <a:srgbClr val="000000"/>
              </a:solidFill>
              <a:latin typeface="Poppins Semi-Bold"/>
            </a:endParaRPr>
          </a:p>
        </p:txBody>
      </p:sp>
      <p:sp>
        <p:nvSpPr>
          <p:cNvPr id="11304" name="TextBox 79">
            <a:extLst>
              <a:ext uri="{FF2B5EF4-FFF2-40B4-BE49-F238E27FC236}">
                <a16:creationId xmlns:a16="http://schemas.microsoft.com/office/drawing/2014/main" id="{36A3237D-736C-6520-35FA-C6C530B296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55583" y="1606550"/>
            <a:ext cx="180301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x-none" sz="1200" dirty="0" err="1">
                <a:latin typeface="Poppins Semi-Bold"/>
              </a:rPr>
              <a:t>Кәсіпорындағы</a:t>
            </a:r>
            <a:r>
              <a:rPr lang="ru-RU" altLang="x-none" sz="1200" dirty="0">
                <a:latin typeface="Poppins Semi-Bold"/>
              </a:rPr>
              <a:t> </a:t>
            </a:r>
            <a:r>
              <a:rPr lang="ru-RU" altLang="x-none" sz="1200" dirty="0" err="1">
                <a:latin typeface="Poppins Semi-Bold"/>
              </a:rPr>
              <a:t>кәсіптік</a:t>
            </a:r>
            <a:r>
              <a:rPr lang="ru-RU" altLang="x-none" sz="1200" dirty="0">
                <a:latin typeface="Poppins Semi-Bold"/>
              </a:rPr>
              <a:t> </a:t>
            </a:r>
            <a:r>
              <a:rPr lang="ru-RU" altLang="x-none" sz="1200" dirty="0" err="1">
                <a:latin typeface="Poppins Semi-Bold"/>
              </a:rPr>
              <a:t>тәуекелді</a:t>
            </a:r>
            <a:r>
              <a:rPr lang="ru-RU" altLang="x-none" sz="1200" dirty="0">
                <a:latin typeface="Poppins Semi-Bold"/>
              </a:rPr>
              <a:t> </a:t>
            </a:r>
            <a:r>
              <a:rPr lang="ru-RU" altLang="x-none" sz="1200" dirty="0" err="1">
                <a:latin typeface="Poppins Semi-Bold"/>
              </a:rPr>
              <a:t>интегралды</a:t>
            </a:r>
            <a:r>
              <a:rPr lang="ru-RU" altLang="x-none" sz="1200" dirty="0">
                <a:latin typeface="Poppins Semi-Bold"/>
              </a:rPr>
              <a:t> </a:t>
            </a:r>
            <a:r>
              <a:rPr lang="ru-RU" altLang="x-none" sz="1200" dirty="0" err="1">
                <a:latin typeface="Poppins Semi-Bold"/>
              </a:rPr>
              <a:t>бағалау</a:t>
            </a:r>
            <a:endParaRPr lang="ru-RU" altLang="x-none" sz="1200" dirty="0">
              <a:solidFill>
                <a:srgbClr val="000000"/>
              </a:solidFill>
              <a:latin typeface="Poppins Semi-Bold"/>
            </a:endParaRPr>
          </a:p>
        </p:txBody>
      </p:sp>
      <p:sp>
        <p:nvSpPr>
          <p:cNvPr id="11305" name="TextBox 84">
            <a:extLst>
              <a:ext uri="{FF2B5EF4-FFF2-40B4-BE49-F238E27FC236}">
                <a16:creationId xmlns:a16="http://schemas.microsoft.com/office/drawing/2014/main" id="{07D18E4A-A017-5E33-9793-9918807370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72650" y="1596433"/>
            <a:ext cx="21177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x-none" sz="1200" dirty="0">
                <a:solidFill>
                  <a:srgbClr val="000000"/>
                </a:solidFill>
                <a:latin typeface="Poppins Semi-Bold"/>
              </a:rPr>
              <a:t>Кәсіпорындарды тәуекел дәрежесі бойынша бөлу</a:t>
            </a:r>
            <a:endParaRPr lang="ru-RU" altLang="x-none" sz="1200" dirty="0">
              <a:solidFill>
                <a:srgbClr val="000000"/>
              </a:solidFill>
              <a:latin typeface="Poppins Semi-Bold"/>
            </a:endParaRPr>
          </a:p>
        </p:txBody>
      </p:sp>
      <p:graphicFrame>
        <p:nvGraphicFramePr>
          <p:cNvPr id="88" name="Таблица 87">
            <a:extLst>
              <a:ext uri="{FF2B5EF4-FFF2-40B4-BE49-F238E27FC236}">
                <a16:creationId xmlns:a16="http://schemas.microsoft.com/office/drawing/2014/main" id="{163F79A9-C7BA-16F3-59AB-9A62033D0F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2523576"/>
              </p:ext>
            </p:extLst>
          </p:nvPr>
        </p:nvGraphicFramePr>
        <p:xfrm>
          <a:off x="9853793" y="2615862"/>
          <a:ext cx="1835764" cy="2577656"/>
        </p:xfrm>
        <a:graphic>
          <a:graphicData uri="http://schemas.openxmlformats.org/drawingml/2006/table">
            <a:tbl>
              <a:tblPr firstRow="1" bandRow="1"/>
              <a:tblGrid>
                <a:gridCol w="18357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55178">
                <a:tc>
                  <a:txBody>
                    <a:bodyPr/>
                    <a:lstStyle/>
                    <a:p>
                      <a:pPr algn="ctr"/>
                      <a:r>
                        <a:rPr lang="kk-KZ" sz="1200" b="1" dirty="0">
                          <a:latin typeface="Calibri Light" panose="020F0302020204030204" pitchFamily="34" charset="0"/>
                        </a:rPr>
                        <a:t>КӘСІПОРЫНЫҢ </a:t>
                      </a:r>
                    </a:p>
                    <a:p>
                      <a:pPr algn="ctr"/>
                      <a:r>
                        <a:rPr lang="kk-KZ" sz="1200" b="1" dirty="0">
                          <a:latin typeface="Calibri Light" panose="020F0302020204030204" pitchFamily="34" charset="0"/>
                        </a:rPr>
                        <a:t>ЦИФРЛЫҚ КАРТАСЫ</a:t>
                      </a:r>
                      <a:endParaRPr lang="ru-RU" sz="1200" b="1" dirty="0">
                        <a:latin typeface="Calibri Light" panose="020F0302020204030204" pitchFamily="34" charset="0"/>
                      </a:endParaRPr>
                    </a:p>
                  </a:txBody>
                  <a:tcPr marL="91407" marR="91407" marT="45708" marB="4570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413">
                <a:tc>
                  <a:txBody>
                    <a:bodyPr/>
                    <a:lstStyle/>
                    <a:p>
                      <a:pPr algn="ctr"/>
                      <a:r>
                        <a:rPr lang="kk-KZ" sz="1200" b="1" dirty="0">
                          <a:latin typeface="Calibri Light" panose="020F0302020204030204" pitchFamily="34" charset="0"/>
                        </a:rPr>
                        <a:t>Деңгей</a:t>
                      </a:r>
                      <a:endParaRPr lang="ru-RU" sz="1200" b="1" dirty="0">
                        <a:latin typeface="Calibri Light" panose="020F0302020204030204" pitchFamily="34" charset="0"/>
                      </a:endParaRPr>
                    </a:p>
                  </a:txBody>
                  <a:tcPr marL="91407" marR="91407" marT="45708" marB="4570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413">
                <a:tc>
                  <a:txBody>
                    <a:bodyPr/>
                    <a:lstStyle/>
                    <a:p>
                      <a:pPr algn="ctr"/>
                      <a:r>
                        <a:rPr lang="kk-KZ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</a:rPr>
                        <a:t>А</a:t>
                      </a:r>
                      <a:endParaRPr lang="ru-RU" sz="7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91407" marR="91407" marT="45708" marB="4570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041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</a:rPr>
                        <a:t>B</a:t>
                      </a:r>
                      <a:endParaRPr lang="ru-RU" sz="700" b="1" kern="12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91407" marR="91407" marT="45708" marB="4570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041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</a:rPr>
                        <a:t>C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91407" marR="91407" marT="45708" marB="4570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9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041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</a:rPr>
                        <a:t>D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91407" marR="91407" marT="45708" marB="4570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041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</a:rPr>
                        <a:t>E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91407" marR="91407" marT="45708" marB="4570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91" name="TextBox 90">
            <a:extLst>
              <a:ext uri="{FF2B5EF4-FFF2-40B4-BE49-F238E27FC236}">
                <a16:creationId xmlns:a16="http://schemas.microsoft.com/office/drawing/2014/main" id="{6D3B3B88-2D89-09CE-B4CE-BA8BEF207A49}"/>
              </a:ext>
            </a:extLst>
          </p:cNvPr>
          <p:cNvSpPr txBox="1"/>
          <p:nvPr/>
        </p:nvSpPr>
        <p:spPr>
          <a:xfrm>
            <a:off x="7828415" y="1104558"/>
            <a:ext cx="3861141" cy="369888"/>
          </a:xfrm>
          <a:prstGeom prst="homePlate">
            <a:avLst/>
          </a:prstGeom>
          <a:solidFill>
            <a:srgbClr val="295E7E"/>
          </a:solidFill>
          <a:ln>
            <a:noFill/>
          </a:ln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b="1" dirty="0">
                <a:solidFill>
                  <a:schemeClr val="bg1"/>
                </a:solidFill>
                <a:latin typeface="Poppins Semi-Bold"/>
              </a:rPr>
              <a:t>ЕХӘҚМ аймағы</a:t>
            </a:r>
            <a:endParaRPr lang="ru-RU" b="1" dirty="0">
              <a:solidFill>
                <a:schemeClr val="bg1"/>
              </a:solidFill>
              <a:latin typeface="Poppins Semi-Bold"/>
            </a:endParaRPr>
          </a:p>
        </p:txBody>
      </p:sp>
      <p:sp>
        <p:nvSpPr>
          <p:cNvPr id="94" name="TextBox 38">
            <a:extLst>
              <a:ext uri="{FF2B5EF4-FFF2-40B4-BE49-F238E27FC236}">
                <a16:creationId xmlns:a16="http://schemas.microsoft.com/office/drawing/2014/main" id="{8FBC07E4-F10A-BA46-D4AC-A99BE02631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28417" y="5475802"/>
            <a:ext cx="3861140" cy="461963"/>
          </a:xfrm>
          <a:prstGeom prst="rect">
            <a:avLst/>
          </a:prstGeom>
          <a:solidFill>
            <a:srgbClr val="295E7E"/>
          </a:solidFill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200" b="1" dirty="0" err="1">
                <a:solidFill>
                  <a:schemeClr val="bg1"/>
                </a:solidFill>
                <a:latin typeface="Poppins Semi-Bold"/>
              </a:rPr>
              <a:t>Еңбек</a:t>
            </a:r>
            <a:r>
              <a:rPr lang="ru-RU" altLang="ru-RU" sz="1200" b="1" dirty="0">
                <a:solidFill>
                  <a:schemeClr val="bg1"/>
                </a:solidFill>
                <a:latin typeface="Poppins Semi-Bold"/>
              </a:rPr>
              <a:t> </a:t>
            </a:r>
            <a:r>
              <a:rPr lang="ru-RU" altLang="ru-RU" sz="1200" b="1" dirty="0" err="1">
                <a:solidFill>
                  <a:schemeClr val="bg1"/>
                </a:solidFill>
                <a:latin typeface="Poppins Semi-Bold"/>
              </a:rPr>
              <a:t>қауіпсіздігі</a:t>
            </a:r>
            <a:r>
              <a:rPr lang="ru-RU" altLang="ru-RU" sz="1200" b="1" dirty="0">
                <a:solidFill>
                  <a:schemeClr val="bg1"/>
                </a:solidFill>
                <a:latin typeface="Poppins Semi-Bold"/>
              </a:rPr>
              <a:t> </a:t>
            </a:r>
            <a:r>
              <a:rPr lang="ru-RU" altLang="ru-RU" sz="1200" b="1" dirty="0" err="1">
                <a:solidFill>
                  <a:schemeClr val="bg1"/>
                </a:solidFill>
                <a:latin typeface="Poppins Semi-Bold"/>
              </a:rPr>
              <a:t>және</a:t>
            </a:r>
            <a:r>
              <a:rPr lang="ru-RU" altLang="ru-RU" sz="1200" b="1" dirty="0">
                <a:solidFill>
                  <a:schemeClr val="bg1"/>
                </a:solidFill>
                <a:latin typeface="Poppins Semi-Bold"/>
              </a:rPr>
              <a:t> </a:t>
            </a:r>
            <a:r>
              <a:rPr lang="ru-RU" altLang="ru-RU" sz="1200" b="1" dirty="0" err="1">
                <a:solidFill>
                  <a:schemeClr val="bg1"/>
                </a:solidFill>
                <a:latin typeface="Poppins Semi-Bold"/>
              </a:rPr>
              <a:t>еңбекті</a:t>
            </a:r>
            <a:r>
              <a:rPr lang="ru-RU" altLang="ru-RU" sz="1200" b="1" dirty="0">
                <a:solidFill>
                  <a:schemeClr val="bg1"/>
                </a:solidFill>
                <a:latin typeface="Poppins Semi-Bold"/>
              </a:rPr>
              <a:t> </a:t>
            </a:r>
            <a:r>
              <a:rPr lang="ru-RU" altLang="ru-RU" sz="1200" b="1" dirty="0" err="1">
                <a:solidFill>
                  <a:schemeClr val="bg1"/>
                </a:solidFill>
                <a:latin typeface="Poppins Semi-Bold"/>
              </a:rPr>
              <a:t>қорғау</a:t>
            </a:r>
            <a:r>
              <a:rPr lang="ru-RU" altLang="ru-RU" sz="1200" b="1" dirty="0">
                <a:solidFill>
                  <a:schemeClr val="bg1"/>
                </a:solidFill>
                <a:latin typeface="Poppins Semi-Bold"/>
              </a:rPr>
              <a:t> </a:t>
            </a:r>
            <a:r>
              <a:rPr lang="ru-RU" altLang="ru-RU" sz="1200" b="1" dirty="0" err="1">
                <a:solidFill>
                  <a:schemeClr val="bg1"/>
                </a:solidFill>
                <a:latin typeface="Poppins Semi-Bold"/>
              </a:rPr>
              <a:t>талаптарының</a:t>
            </a:r>
            <a:r>
              <a:rPr lang="ru-RU" altLang="ru-RU" sz="1200" b="1" dirty="0">
                <a:solidFill>
                  <a:schemeClr val="bg1"/>
                </a:solidFill>
                <a:latin typeface="Poppins Semi-Bold"/>
              </a:rPr>
              <a:t> </a:t>
            </a:r>
            <a:r>
              <a:rPr lang="ru-RU" altLang="ru-RU" sz="1200" b="1" dirty="0" err="1">
                <a:solidFill>
                  <a:schemeClr val="bg1"/>
                </a:solidFill>
                <a:latin typeface="Poppins Semi-Bold"/>
              </a:rPr>
              <a:t>сақталуын</a:t>
            </a:r>
            <a:r>
              <a:rPr lang="ru-RU" altLang="ru-RU" sz="1200" b="1" dirty="0">
                <a:solidFill>
                  <a:schemeClr val="bg1"/>
                </a:solidFill>
                <a:latin typeface="Poppins Semi-Bold"/>
              </a:rPr>
              <a:t> </a:t>
            </a:r>
            <a:r>
              <a:rPr lang="ru-RU" altLang="ru-RU" sz="1200" b="1" dirty="0" err="1">
                <a:solidFill>
                  <a:schemeClr val="bg1"/>
                </a:solidFill>
                <a:latin typeface="Poppins Semi-Bold"/>
              </a:rPr>
              <a:t>бақылау</a:t>
            </a:r>
            <a:r>
              <a:rPr lang="ru-RU" altLang="ru-RU" sz="1200" b="1" dirty="0">
                <a:solidFill>
                  <a:schemeClr val="bg1"/>
                </a:solidFill>
                <a:latin typeface="Poppins Semi-Bold"/>
              </a:rPr>
              <a:t> </a:t>
            </a:r>
            <a:r>
              <a:rPr lang="ru-RU" altLang="ru-RU" sz="1200" b="1" dirty="0" err="1">
                <a:solidFill>
                  <a:schemeClr val="bg1"/>
                </a:solidFill>
                <a:latin typeface="Poppins Semi-Bold"/>
              </a:rPr>
              <a:t>және</a:t>
            </a:r>
            <a:r>
              <a:rPr lang="ru-RU" altLang="ru-RU" sz="1200" b="1" dirty="0">
                <a:solidFill>
                  <a:schemeClr val="bg1"/>
                </a:solidFill>
                <a:latin typeface="Poppins Semi-Bold"/>
              </a:rPr>
              <a:t> </a:t>
            </a:r>
            <a:r>
              <a:rPr lang="ru-RU" altLang="ru-RU" sz="1200" b="1" dirty="0" err="1">
                <a:solidFill>
                  <a:schemeClr val="bg1"/>
                </a:solidFill>
                <a:latin typeface="Poppins Semi-Bold"/>
              </a:rPr>
              <a:t>бақылау</a:t>
            </a:r>
            <a:endParaRPr lang="ru-RU" altLang="ru-RU" sz="1200" b="1" dirty="0">
              <a:solidFill>
                <a:schemeClr val="bg1"/>
              </a:solidFill>
              <a:latin typeface="Poppins Semi-Bold"/>
            </a:endParaRPr>
          </a:p>
        </p:txBody>
      </p:sp>
      <p:pic>
        <p:nvPicPr>
          <p:cNvPr id="72" name="Рисунок 49">
            <a:extLst>
              <a:ext uri="{FF2B5EF4-FFF2-40B4-BE49-F238E27FC236}">
                <a16:creationId xmlns:a16="http://schemas.microsoft.com/office/drawing/2014/main" id="{4009C472-6CC1-4C22-8AC0-8478E39D1AB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4275312" y="2604989"/>
            <a:ext cx="683697" cy="84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6" name="Прямая соединительная линия 95"/>
          <p:cNvCxnSpPr/>
          <p:nvPr/>
        </p:nvCxnSpPr>
        <p:spPr>
          <a:xfrm flipV="1">
            <a:off x="7656767" y="1516451"/>
            <a:ext cx="0" cy="4556416"/>
          </a:xfrm>
          <a:prstGeom prst="line">
            <a:avLst/>
          </a:prstGeom>
          <a:ln>
            <a:solidFill>
              <a:srgbClr val="295E7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единительная линия 96"/>
          <p:cNvCxnSpPr/>
          <p:nvPr/>
        </p:nvCxnSpPr>
        <p:spPr>
          <a:xfrm flipV="1">
            <a:off x="2940123" y="1516451"/>
            <a:ext cx="0" cy="4556416"/>
          </a:xfrm>
          <a:prstGeom prst="line">
            <a:avLst/>
          </a:prstGeom>
          <a:ln>
            <a:solidFill>
              <a:srgbClr val="295E7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Прямая соединительная линия 97"/>
          <p:cNvCxnSpPr/>
          <p:nvPr/>
        </p:nvCxnSpPr>
        <p:spPr>
          <a:xfrm flipV="1">
            <a:off x="5259755" y="1516451"/>
            <a:ext cx="0" cy="4556416"/>
          </a:xfrm>
          <a:prstGeom prst="line">
            <a:avLst/>
          </a:prstGeom>
          <a:ln>
            <a:solidFill>
              <a:srgbClr val="295E7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Прямая соединительная линия 98"/>
          <p:cNvCxnSpPr/>
          <p:nvPr/>
        </p:nvCxnSpPr>
        <p:spPr>
          <a:xfrm flipV="1">
            <a:off x="9704642" y="1618053"/>
            <a:ext cx="0" cy="3575466"/>
          </a:xfrm>
          <a:prstGeom prst="line">
            <a:avLst/>
          </a:prstGeom>
          <a:ln>
            <a:solidFill>
              <a:srgbClr val="295E7E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10008688" y="3251835"/>
            <a:ext cx="109890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238FC4A1-788C-B4A7-6DD2-2DEE9A8DB87D}"/>
              </a:ext>
            </a:extLst>
          </p:cNvPr>
          <p:cNvSpPr txBox="1"/>
          <p:nvPr/>
        </p:nvSpPr>
        <p:spPr>
          <a:xfrm>
            <a:off x="330000" y="240784"/>
            <a:ext cx="116572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ҢБЕКТІ ҚОРҒАУДЫҢ ЖАҢА ИДЕОЛОГИЯСЫ:  </a:t>
            </a:r>
            <a:r>
              <a:rPr kumimoji="0" lang="ru-RU" alt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әсіпорындардың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цифрлық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ртасы</a:t>
            </a:r>
            <a:endParaRPr kumimoji="0" lang="ru-RU" alt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1" name="Прямая соединительная линия 50">
            <a:extLst>
              <a:ext uri="{FF2B5EF4-FFF2-40B4-BE49-F238E27FC236}">
                <a16:creationId xmlns:a16="http://schemas.microsoft.com/office/drawing/2014/main" id="{E87286A1-394B-DD00-1F28-1662DD91A185}"/>
              </a:ext>
            </a:extLst>
          </p:cNvPr>
          <p:cNvCxnSpPr>
            <a:cxnSpLocks/>
          </p:cNvCxnSpPr>
          <p:nvPr/>
        </p:nvCxnSpPr>
        <p:spPr>
          <a:xfrm>
            <a:off x="127795" y="622301"/>
            <a:ext cx="115617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Номер слайда 8">
            <a:extLst>
              <a:ext uri="{FF2B5EF4-FFF2-40B4-BE49-F238E27FC236}">
                <a16:creationId xmlns:a16="http://schemas.microsoft.com/office/drawing/2014/main" id="{E28AAAA1-F03D-0410-AF0F-822B9401D50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9367838" y="6505575"/>
            <a:ext cx="27432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dirty="0">
                <a:solidFill>
                  <a:srgbClr val="898989"/>
                </a:solidFill>
              </a:rPr>
              <a:t>9</a:t>
            </a:r>
          </a:p>
        </p:txBody>
      </p:sp>
      <p:pic>
        <p:nvPicPr>
          <p:cNvPr id="45" name="Рисунок 49">
            <a:extLst>
              <a:ext uri="{FF2B5EF4-FFF2-40B4-BE49-F238E27FC236}">
                <a16:creationId xmlns:a16="http://schemas.microsoft.com/office/drawing/2014/main" id="{E4EE8ADD-CC01-AB90-E78D-5606615F8F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3240456" y="3848260"/>
            <a:ext cx="718890" cy="825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Рисунок 49">
            <a:extLst>
              <a:ext uri="{FF2B5EF4-FFF2-40B4-BE49-F238E27FC236}">
                <a16:creationId xmlns:a16="http://schemas.microsoft.com/office/drawing/2014/main" id="{E4EE8ADD-CC01-AB90-E78D-5606615F8F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4246035" y="3819859"/>
            <a:ext cx="718890" cy="825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36617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30">
            <a:extLst>
              <a:ext uri="{FF2B5EF4-FFF2-40B4-BE49-F238E27FC236}">
                <a16:creationId xmlns:a16="http://schemas.microsoft.com/office/drawing/2014/main" id="{FBC664D1-A72E-23D2-EA4B-195A9DA02B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729925" y="987422"/>
            <a:ext cx="5052802" cy="4727575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4D1C403-3B98-A023-5EE0-35E63C48D63A}"/>
              </a:ext>
            </a:extLst>
          </p:cNvPr>
          <p:cNvSpPr txBox="1"/>
          <p:nvPr/>
        </p:nvSpPr>
        <p:spPr>
          <a:xfrm>
            <a:off x="501069" y="696853"/>
            <a:ext cx="3824975" cy="2254463"/>
          </a:xfrm>
          <a:prstGeom prst="rect">
            <a:avLst/>
          </a:prstGeom>
          <a:noFill/>
          <a:ln>
            <a:solidFill>
              <a:schemeClr val="tx1"/>
            </a:solidFill>
            <a:prstDash val="dashDot"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42900" indent="-342900" eaLnBrk="1" hangingPunct="1">
              <a:lnSpc>
                <a:spcPct val="75000"/>
              </a:lnSpc>
              <a:buFontTx/>
              <a:buAutoNum type="arabicPeriod"/>
              <a:defRPr/>
            </a:pPr>
            <a:r>
              <a:rPr lang="ru-RU" altLang="x-none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ТІК ТӘУЕКЕЛДІ БАҒАЛАУ</a:t>
            </a:r>
          </a:p>
          <a:p>
            <a:pPr eaLnBrk="1" hangingPunct="1">
              <a:lnSpc>
                <a:spcPct val="75000"/>
              </a:lnSpc>
              <a:defRPr/>
            </a:pPr>
            <a:endParaRPr lang="ru-RU" altLang="x-none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8288"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жағдайларының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зияндылығын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химиялық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физикалық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биологиялық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психофизиологиялық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факторлар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68288"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жағдайларының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жарақаттану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упін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механикалық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факторлар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68288"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Өндірістік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жабдықтардың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уіпсіздігін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(ҰҚҚ)</a:t>
            </a:r>
          </a:p>
          <a:p>
            <a:pPr marL="268288"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ЖКТ мен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дануды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endParaRPr lang="ru-RU" altLang="x-none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8288"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Сырқаттанушылықты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медициналық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тексерулерді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endParaRPr lang="ru-RU" altLang="x-none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8288"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Оқытуды</a:t>
            </a: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endParaRPr lang="ru-RU" altLang="x-non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EA6AA171-0406-37C3-A0BE-3465E6103C60}"/>
              </a:ext>
            </a:extLst>
          </p:cNvPr>
          <p:cNvCxnSpPr>
            <a:cxnSpLocks/>
          </p:cNvCxnSpPr>
          <p:nvPr/>
        </p:nvCxnSpPr>
        <p:spPr>
          <a:xfrm flipH="1">
            <a:off x="381000" y="3429000"/>
            <a:ext cx="115443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32C86563-9A95-19EE-F04C-851844320D60}"/>
              </a:ext>
            </a:extLst>
          </p:cNvPr>
          <p:cNvCxnSpPr/>
          <p:nvPr/>
        </p:nvCxnSpPr>
        <p:spPr>
          <a:xfrm>
            <a:off x="6083300" y="620713"/>
            <a:ext cx="25724" cy="529893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43" name="TextBox 23">
            <a:extLst>
              <a:ext uri="{FF2B5EF4-FFF2-40B4-BE49-F238E27FC236}">
                <a16:creationId xmlns:a16="http://schemas.microsoft.com/office/drawing/2014/main" id="{44B58AA1-CB28-4EEA-B48F-27A62B7AA5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81956" y="940400"/>
            <a:ext cx="3643344" cy="2111347"/>
          </a:xfrm>
          <a:prstGeom prst="rect">
            <a:avLst/>
          </a:prstGeom>
          <a:noFill/>
          <a:ln w="9525">
            <a:solidFill>
              <a:srgbClr val="000000"/>
            </a:solidFill>
            <a:prstDash val="dash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180975" indent="-1809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ru-RU" alt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ФФЕРЕНЦИАЦИЯ</a:t>
            </a:r>
          </a:p>
          <a:p>
            <a:pPr eaLnBrk="1" hangingPunct="1">
              <a:spcBef>
                <a:spcPts val="600"/>
              </a:spcBef>
              <a:buFont typeface="Arial" panose="020B0604020202020204" pitchFamily="34" charset="0"/>
              <a:buNone/>
            </a:pPr>
            <a:endParaRPr lang="ru-RU" altLang="ru-RU" sz="5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дәрежесіне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орның</a:t>
            </a:r>
            <a:endParaRPr lang="ru-RU" alt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орнының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дәрежесіне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ЖҚҚ-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ның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кердің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орнының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дәрежесіне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тарифтерінің</a:t>
            </a:r>
            <a:endParaRPr lang="ru-RU" alt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орнының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дәрежесіне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епілдіктернің</a:t>
            </a:r>
            <a:endParaRPr lang="ru-RU" alt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44" name="TextBox 29">
            <a:extLst>
              <a:ext uri="{FF2B5EF4-FFF2-40B4-BE49-F238E27FC236}">
                <a16:creationId xmlns:a16="http://schemas.microsoft.com/office/drawing/2014/main" id="{FE0E236C-7ECB-F23D-6E48-957BF90212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6549" y="245720"/>
            <a:ext cx="121920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ӘТИЖЕ: </a:t>
            </a:r>
            <a:r>
              <a:rPr lang="ru-RU" altLang="ru-RU" sz="1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зімдік</a:t>
            </a: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сілден</a:t>
            </a: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ге</a:t>
            </a: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ытталған</a:t>
            </a: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ге</a:t>
            </a: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шу</a:t>
            </a:r>
            <a:endParaRPr lang="ru-RU" altLang="ru-RU" sz="1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C58C3415-0DD5-1B3B-C0EF-75AF999050C9}"/>
              </a:ext>
            </a:extLst>
          </p:cNvPr>
          <p:cNvCxnSpPr>
            <a:cxnSpLocks/>
          </p:cNvCxnSpPr>
          <p:nvPr/>
        </p:nvCxnSpPr>
        <p:spPr>
          <a:xfrm>
            <a:off x="197726" y="617448"/>
            <a:ext cx="115601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699D9E97-FD56-F0A5-BADB-7F93FD06C3DC}"/>
              </a:ext>
            </a:extLst>
          </p:cNvPr>
          <p:cNvGrpSpPr/>
          <p:nvPr/>
        </p:nvGrpSpPr>
        <p:grpSpPr>
          <a:xfrm rot="11969830" flipH="1">
            <a:off x="4542229" y="1266318"/>
            <a:ext cx="417018" cy="732917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43" name="Шеврон 20">
              <a:extLst>
                <a:ext uri="{FF2B5EF4-FFF2-40B4-BE49-F238E27FC236}">
                  <a16:creationId xmlns:a16="http://schemas.microsoft.com/office/drawing/2014/main" id="{DC6246FE-3250-C5BA-D855-8975123C21D8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Шеврон 71">
              <a:extLst>
                <a:ext uri="{FF2B5EF4-FFF2-40B4-BE49-F238E27FC236}">
                  <a16:creationId xmlns:a16="http://schemas.microsoft.com/office/drawing/2014/main" id="{68F14DF2-8926-8D3A-3047-C21906726F8B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5B9BD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347" name="TextBox 31">
            <a:extLst>
              <a:ext uri="{FF2B5EF4-FFF2-40B4-BE49-F238E27FC236}">
                <a16:creationId xmlns:a16="http://schemas.microsoft.com/office/drawing/2014/main" id="{01FD3B9B-6F1E-37A0-28FA-E2C64A26AA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6369" y="2483646"/>
            <a:ext cx="1912636" cy="1443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ТІ </a:t>
            </a:r>
          </a:p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У КОМПОНЕНТТЕРІНІҢ БІРЫҢҒАЙ </a:t>
            </a:r>
          </a:p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</a:t>
            </a:r>
          </a:p>
        </p:txBody>
      </p:sp>
      <p:sp>
        <p:nvSpPr>
          <p:cNvPr id="49" name="Прямоугольник 23">
            <a:extLst>
              <a:ext uri="{FF2B5EF4-FFF2-40B4-BE49-F238E27FC236}">
                <a16:creationId xmlns:a16="http://schemas.microsoft.com/office/drawing/2014/main" id="{08E41478-A037-D5C4-DBA7-042043947C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79220" y="4040199"/>
            <a:ext cx="3584167" cy="1818959"/>
          </a:xfrm>
          <a:prstGeom prst="rect">
            <a:avLst/>
          </a:prstGeom>
          <a:noFill/>
          <a:ln>
            <a:solidFill>
              <a:schemeClr val="tx1"/>
            </a:solidFill>
            <a:prstDash val="dashDot"/>
          </a:ln>
        </p:spPr>
        <p:txBody>
          <a:bodyPr wrap="square">
            <a:spAutoFit/>
          </a:bodyPr>
          <a:lstStyle>
            <a:lvl1pPr marL="1341438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eaLnBrk="1" hangingPunct="1">
              <a:spcBef>
                <a:spcPts val="600"/>
              </a:spcBef>
              <a:buNone/>
            </a:pP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МЕМЛЕКЕТТІК БАҚЫЛАУДЫҢ ЖАҢА ФОРМАТЫ</a:t>
            </a: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ң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статистикалық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мониторингі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нәтижелерін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сараптау</a:t>
            </a:r>
            <a:endParaRPr lang="ru-RU" alt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қылау-Кәсіптік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endParaRPr lang="ru-RU" alt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FontTx/>
              <a:buNone/>
            </a:pPr>
            <a:endParaRPr lang="ru-RU" altLang="ru-RU" sz="14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Прямоугольник 14">
            <a:extLst>
              <a:ext uri="{FF2B5EF4-FFF2-40B4-BE49-F238E27FC236}">
                <a16:creationId xmlns:a16="http://schemas.microsoft.com/office/drawing/2014/main" id="{1B4A53C7-E169-8353-7742-19EB7D67B9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7939" y="3823693"/>
            <a:ext cx="3519080" cy="1729704"/>
          </a:xfrm>
          <a:prstGeom prst="rect">
            <a:avLst/>
          </a:prstGeom>
          <a:noFill/>
          <a:ln>
            <a:solidFill>
              <a:schemeClr val="tx1"/>
            </a:solidFill>
            <a:prstDash val="dashDot"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80975" marR="1014730" indent="-180975">
              <a:lnSpc>
                <a:spcPts val="1510"/>
              </a:lnSpc>
              <a:spcBef>
                <a:spcPts val="345"/>
              </a:spcBef>
              <a:buNone/>
            </a:pP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kk-KZ" sz="1400" b="1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ЛАНДЫРУ</a:t>
            </a:r>
            <a:r>
              <a:rPr lang="kk-KZ" sz="1400" b="1" spc="4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1400" b="1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kk-KZ" sz="1400" b="1" spc="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1400" b="1" spc="-10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тұтас ақпараттық жүйені қалыптастыру</a:t>
            </a:r>
            <a:endParaRPr lang="kk-KZ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indent="-180975"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endParaRPr lang="ru-RU" altLang="ru-RU" sz="5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8288" indent="-228600">
              <a:spcBef>
                <a:spcPct val="0"/>
              </a:spcBef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әспорындардың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цифрлық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артасын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ұрастыру</a:t>
            </a:r>
            <a:endParaRPr lang="ru-RU" alt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8288" indent="-228600">
              <a:spcBef>
                <a:spcPct val="0"/>
              </a:spcBef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өрсетудің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проактивті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форматына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өшу</a:t>
            </a:r>
            <a:endParaRPr lang="ru-RU" alt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8288" indent="-228600">
              <a:spcBef>
                <a:spcPct val="0"/>
              </a:spcBef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Ішкі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оғамдық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қылау-әлеуметтік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диалогты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дамыту</a:t>
            </a:r>
            <a:endParaRPr lang="ru-RU" alt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50" name="Номер слайда 8">
            <a:extLst>
              <a:ext uri="{FF2B5EF4-FFF2-40B4-BE49-F238E27FC236}">
                <a16:creationId xmlns:a16="http://schemas.microsoft.com/office/drawing/2014/main" id="{86414BF0-07B7-8DC8-8E78-5D25D4C3EFE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9375464" y="6424613"/>
            <a:ext cx="27432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A7BB84C6-9F0B-43DE-8AC2-B6C37EE41C79}" type="slidenum">
              <a:rPr lang="ru-RU" altLang="ru-RU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1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29D4444D-E45E-6182-D5BA-F6A8D378AA68}"/>
              </a:ext>
            </a:extLst>
          </p:cNvPr>
          <p:cNvGrpSpPr/>
          <p:nvPr/>
        </p:nvGrpSpPr>
        <p:grpSpPr>
          <a:xfrm rot="20721507" flipH="1">
            <a:off x="7777672" y="1647996"/>
            <a:ext cx="430120" cy="844162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18" name="Шеврон 20">
              <a:extLst>
                <a:ext uri="{FF2B5EF4-FFF2-40B4-BE49-F238E27FC236}">
                  <a16:creationId xmlns:a16="http://schemas.microsoft.com/office/drawing/2014/main" id="{077C75F2-7930-2FD5-37A5-36F21E4BCBC5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Шеврон 71">
              <a:extLst>
                <a:ext uri="{FF2B5EF4-FFF2-40B4-BE49-F238E27FC236}">
                  <a16:creationId xmlns:a16="http://schemas.microsoft.com/office/drawing/2014/main" id="{86EA8734-7DD0-5806-0F5C-6D179F9DF519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5B9BD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3DA2B644-B0C9-71EE-CB6D-E57359534959}"/>
              </a:ext>
            </a:extLst>
          </p:cNvPr>
          <p:cNvGrpSpPr/>
          <p:nvPr/>
        </p:nvGrpSpPr>
        <p:grpSpPr>
          <a:xfrm rot="821757" flipH="1">
            <a:off x="7806682" y="4331700"/>
            <a:ext cx="366793" cy="763141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21" name="Шеврон 20">
              <a:extLst>
                <a:ext uri="{FF2B5EF4-FFF2-40B4-BE49-F238E27FC236}">
                  <a16:creationId xmlns:a16="http://schemas.microsoft.com/office/drawing/2014/main" id="{FBF9BAF1-E386-7BB6-7229-CA30560BEB9E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Шеврон 71">
              <a:extLst>
                <a:ext uri="{FF2B5EF4-FFF2-40B4-BE49-F238E27FC236}">
                  <a16:creationId xmlns:a16="http://schemas.microsoft.com/office/drawing/2014/main" id="{E5BA5325-A72B-9A78-F102-C58CC3EAB9A8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5B9BD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3CAC8441-0B27-DDDE-227A-65D4DB3A408E}"/>
              </a:ext>
            </a:extLst>
          </p:cNvPr>
          <p:cNvGrpSpPr/>
          <p:nvPr/>
        </p:nvGrpSpPr>
        <p:grpSpPr>
          <a:xfrm rot="9911511" flipH="1">
            <a:off x="4248479" y="4086404"/>
            <a:ext cx="366793" cy="763141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24" name="Шеврон 20">
              <a:extLst>
                <a:ext uri="{FF2B5EF4-FFF2-40B4-BE49-F238E27FC236}">
                  <a16:creationId xmlns:a16="http://schemas.microsoft.com/office/drawing/2014/main" id="{B491EA89-D506-6B14-8161-6C08832E1870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Шеврон 71">
              <a:extLst>
                <a:ext uri="{FF2B5EF4-FFF2-40B4-BE49-F238E27FC236}">
                  <a16:creationId xmlns:a16="http://schemas.microsoft.com/office/drawing/2014/main" id="{805AC9B4-A021-B9FD-B6CC-A0FEEF53A3CE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5B9BD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1780097" y="6143904"/>
            <a:ext cx="852500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 РЕСУРСТАРЫН ҮНЕМДЕУ ЖӘНЕ ҚЫЗМЕТКЕРЛЕРДІҢ ӨМІР СҮРУ САПАСЫН АРТТЫРУ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D175590-A1CF-EF55-DD93-37A072B5F83B}"/>
              </a:ext>
            </a:extLst>
          </p:cNvPr>
          <p:cNvSpPr/>
          <p:nvPr/>
        </p:nvSpPr>
        <p:spPr>
          <a:xfrm>
            <a:off x="1530350" y="4333060"/>
            <a:ext cx="10210801" cy="12953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BA30056-ACE7-A722-562C-632C9103E965}"/>
              </a:ext>
            </a:extLst>
          </p:cNvPr>
          <p:cNvSpPr/>
          <p:nvPr/>
        </p:nvSpPr>
        <p:spPr>
          <a:xfrm>
            <a:off x="971551" y="2847166"/>
            <a:ext cx="10210800" cy="129539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06067B5-5CC8-B2BC-503C-4B64DF4EAF81}"/>
              </a:ext>
            </a:extLst>
          </p:cNvPr>
          <p:cNvSpPr/>
          <p:nvPr/>
        </p:nvSpPr>
        <p:spPr>
          <a:xfrm>
            <a:off x="460375" y="1386593"/>
            <a:ext cx="10210800" cy="12953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CDB4CE-8D27-77FF-4FA0-3C79D69A9D9E}"/>
              </a:ext>
            </a:extLst>
          </p:cNvPr>
          <p:cNvSpPr txBox="1"/>
          <p:nvPr/>
        </p:nvSpPr>
        <p:spPr>
          <a:xfrm>
            <a:off x="1285423" y="1681433"/>
            <a:ext cx="976629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ЫМЫ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Құрамдас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бөліктері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өзар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еңбекті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жүйесі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99575" y="6330025"/>
            <a:ext cx="2743200" cy="365125"/>
          </a:xfrm>
        </p:spPr>
        <p:txBody>
          <a:bodyPr/>
          <a:lstStyle/>
          <a:p>
            <a:fld id="{40E639D6-486F-415B-8EB1-05B088C4E433}" type="slidenum">
              <a:rPr lang="x-none" smtClean="0"/>
              <a:t>2</a:t>
            </a:fld>
            <a:endParaRPr lang="x-none" dirty="0"/>
          </a:p>
        </p:txBody>
      </p:sp>
      <p:sp>
        <p:nvSpPr>
          <p:cNvPr id="9" name="AutoShape 2" descr="blob:https://web.whatsapp.com/0dbc5028-f3b2-4a57-8420-84e608a2c007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A5F0D85-E472-B67F-96C8-528B97D53265}"/>
              </a:ext>
            </a:extLst>
          </p:cNvPr>
          <p:cNvSpPr txBox="1"/>
          <p:nvPr/>
        </p:nvSpPr>
        <p:spPr>
          <a:xfrm>
            <a:off x="355450" y="215841"/>
            <a:ext cx="98774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Р 2030 ЖЫЛҒА ДЕЙІНГІ ҚАУІПСІЗ ЕҢБЕК ТҰЖЫРЫМДАМАСЫ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78334CBA-ACC4-8AB5-6E13-3D7F787F52E3}"/>
              </a:ext>
            </a:extLst>
          </p:cNvPr>
          <p:cNvCxnSpPr>
            <a:cxnSpLocks/>
          </p:cNvCxnSpPr>
          <p:nvPr/>
        </p:nvCxnSpPr>
        <p:spPr>
          <a:xfrm>
            <a:off x="198438" y="615951"/>
            <a:ext cx="115617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 descr="Контрольный список">
            <a:extLst>
              <a:ext uri="{FF2B5EF4-FFF2-40B4-BE49-F238E27FC236}">
                <a16:creationId xmlns:a16="http://schemas.microsoft.com/office/drawing/2014/main" id="{AAE284ED-51A4-1F61-24B4-D19FF564A91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727" y="4538947"/>
            <a:ext cx="914400" cy="914400"/>
          </a:xfrm>
          <a:prstGeom prst="rect">
            <a:avLst/>
          </a:prstGeom>
        </p:spPr>
      </p:pic>
      <p:pic>
        <p:nvPicPr>
          <p:cNvPr id="7" name="Рисунок 6" descr="Попасть в яблочко">
            <a:extLst>
              <a:ext uri="{FF2B5EF4-FFF2-40B4-BE49-F238E27FC236}">
                <a16:creationId xmlns:a16="http://schemas.microsoft.com/office/drawing/2014/main" id="{D0599523-31D8-ED7F-1C61-C2764501B99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616" y="3037664"/>
            <a:ext cx="914400" cy="914400"/>
          </a:xfrm>
          <a:prstGeom prst="rect">
            <a:avLst/>
          </a:prstGeom>
        </p:spPr>
      </p:pic>
      <p:pic>
        <p:nvPicPr>
          <p:cNvPr id="8" name="Рисунок 7" descr="Лампочка">
            <a:extLst>
              <a:ext uri="{FF2B5EF4-FFF2-40B4-BE49-F238E27FC236}">
                <a16:creationId xmlns:a16="http://schemas.microsoft.com/office/drawing/2014/main" id="{2964A420-1085-3F86-A8FF-B1177201F6B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213" y="1570815"/>
            <a:ext cx="914400" cy="9144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2BC99D66-0C53-1EED-1FCE-453F7A8BDE64}"/>
              </a:ext>
            </a:extLst>
          </p:cNvPr>
          <p:cNvSpPr txBox="1"/>
          <p:nvPr/>
        </p:nvSpPr>
        <p:spPr>
          <a:xfrm>
            <a:off x="2066016" y="2966612"/>
            <a:ext cx="962127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ТЫ</a:t>
            </a:r>
          </a:p>
          <a:p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Жұмыскерлердің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өмірінің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сапасын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жақсарту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ресурстарын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үнемдеу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D8BB1EE-EF31-40D6-4B10-4E8DEC528FE8}"/>
              </a:ext>
            </a:extLst>
          </p:cNvPr>
          <p:cNvSpPr txBox="1"/>
          <p:nvPr/>
        </p:nvSpPr>
        <p:spPr>
          <a:xfrm>
            <a:off x="2547594" y="4444045"/>
            <a:ext cx="972144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ПСЫРМАЛАР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жағдайын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жақсарту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орнында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қауіпсіздікті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22531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E06067B5-5CC8-B2BC-503C-4B64DF4EAF81}"/>
              </a:ext>
            </a:extLst>
          </p:cNvPr>
          <p:cNvSpPr/>
          <p:nvPr/>
        </p:nvSpPr>
        <p:spPr>
          <a:xfrm>
            <a:off x="472668" y="5515994"/>
            <a:ext cx="11093448" cy="672943"/>
          </a:xfrm>
          <a:prstGeom prst="rect">
            <a:avLst/>
          </a:prstGeom>
          <a:solidFill>
            <a:srgbClr val="BBCD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E06067B5-5CC8-B2BC-503C-4B64DF4EAF81}"/>
              </a:ext>
            </a:extLst>
          </p:cNvPr>
          <p:cNvSpPr/>
          <p:nvPr/>
        </p:nvSpPr>
        <p:spPr>
          <a:xfrm>
            <a:off x="472668" y="3707313"/>
            <a:ext cx="11093448" cy="6729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ru-RU" alt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D175590-A1CF-EF55-DD93-37A072B5F83B}"/>
              </a:ext>
            </a:extLst>
          </p:cNvPr>
          <p:cNvSpPr/>
          <p:nvPr/>
        </p:nvSpPr>
        <p:spPr>
          <a:xfrm>
            <a:off x="472668" y="2936214"/>
            <a:ext cx="11081155" cy="57338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BA30056-ACE7-A722-562C-632C9103E965}"/>
              </a:ext>
            </a:extLst>
          </p:cNvPr>
          <p:cNvSpPr/>
          <p:nvPr/>
        </p:nvSpPr>
        <p:spPr>
          <a:xfrm>
            <a:off x="460374" y="2143806"/>
            <a:ext cx="11093449" cy="6172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alt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06067B5-5CC8-B2BC-503C-4B64DF4EAF81}"/>
              </a:ext>
            </a:extLst>
          </p:cNvPr>
          <p:cNvSpPr/>
          <p:nvPr/>
        </p:nvSpPr>
        <p:spPr>
          <a:xfrm>
            <a:off x="460375" y="1343051"/>
            <a:ext cx="11093448" cy="6729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CDB4CE-8D27-77FF-4FA0-3C79D69A9D9E}"/>
              </a:ext>
            </a:extLst>
          </p:cNvPr>
          <p:cNvSpPr txBox="1"/>
          <p:nvPr/>
        </p:nvSpPr>
        <p:spPr>
          <a:xfrm>
            <a:off x="1416052" y="1567789"/>
            <a:ext cx="900981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әуекел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әрежесі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жұмыс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рнын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аралау</a:t>
            </a:r>
            <a:endParaRPr lang="ru-RU" altLang="ru-RU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40E639D6-486F-415B-8EB1-05B088C4E433}" type="slidenum">
              <a:rPr lang="x-none" smtClean="0"/>
              <a:t>3</a:t>
            </a:fld>
            <a:endParaRPr lang="x-none" dirty="0"/>
          </a:p>
        </p:txBody>
      </p:sp>
      <p:sp>
        <p:nvSpPr>
          <p:cNvPr id="9" name="AutoShape 2" descr="blob:https://web.whatsapp.com/0dbc5028-f3b2-4a57-8420-84e608a2c007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A5F0D85-E472-B67F-96C8-528B97D53265}"/>
              </a:ext>
            </a:extLst>
          </p:cNvPr>
          <p:cNvSpPr txBox="1"/>
          <p:nvPr/>
        </p:nvSpPr>
        <p:spPr>
          <a:xfrm>
            <a:off x="355450" y="215841"/>
            <a:ext cx="10941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Р 2030 ЖЫЛҒА ДЕЙІНГІ ҚАУІПСІЗ ЖҰМЫС КОНЦЕПЦИЯСЫНЫҢ БАҒЫТТАРЫ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78334CBA-ACC4-8AB5-6E13-3D7F787F52E3}"/>
              </a:ext>
            </a:extLst>
          </p:cNvPr>
          <p:cNvCxnSpPr>
            <a:cxnSpLocks/>
          </p:cNvCxnSpPr>
          <p:nvPr/>
        </p:nvCxnSpPr>
        <p:spPr>
          <a:xfrm>
            <a:off x="198438" y="819151"/>
            <a:ext cx="115617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 descr="Попасть в яблочко">
            <a:extLst>
              <a:ext uri="{FF2B5EF4-FFF2-40B4-BE49-F238E27FC236}">
                <a16:creationId xmlns:a16="http://schemas.microsoft.com/office/drawing/2014/main" id="{D0599523-31D8-ED7F-1C61-C2764501B99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8384" y="1412632"/>
            <a:ext cx="700755" cy="564022"/>
          </a:xfrm>
          <a:prstGeom prst="rect">
            <a:avLst/>
          </a:prstGeom>
        </p:spPr>
      </p:pic>
      <p:pic>
        <p:nvPicPr>
          <p:cNvPr id="8" name="Рисунок 7" descr="Лампочка">
            <a:extLst>
              <a:ext uri="{FF2B5EF4-FFF2-40B4-BE49-F238E27FC236}">
                <a16:creationId xmlns:a16="http://schemas.microsoft.com/office/drawing/2014/main" id="{2964A420-1085-3F86-A8FF-B1177201F6B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0954" y="3697711"/>
            <a:ext cx="584581" cy="639437"/>
          </a:xfrm>
          <a:prstGeom prst="rect">
            <a:avLst/>
          </a:prstGeom>
        </p:spPr>
      </p:pic>
      <p:pic>
        <p:nvPicPr>
          <p:cNvPr id="16" name="Рисунок 15" descr="Пожарный">
            <a:extLst>
              <a:ext uri="{FF2B5EF4-FFF2-40B4-BE49-F238E27FC236}">
                <a16:creationId xmlns:a16="http://schemas.microsoft.com/office/drawing/2014/main" id="{BE1705ED-935C-CF2A-1BA2-B876AB94483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38385" y="2218251"/>
            <a:ext cx="700754" cy="542854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416052" y="2263588"/>
            <a:ext cx="69172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әуекел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әрежесіне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қарай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жеке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қорғаныс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құралдарын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аңдау</a:t>
            </a:r>
            <a:endParaRPr lang="ru-RU" altLang="ru-RU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Рисунок 17" descr="Контрольный список">
            <a:extLst>
              <a:ext uri="{FF2B5EF4-FFF2-40B4-BE49-F238E27FC236}">
                <a16:creationId xmlns:a16="http://schemas.microsoft.com/office/drawing/2014/main" id="{AAE284ED-51A4-1F61-24B4-D19FF564A91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8384" y="2963217"/>
            <a:ext cx="700755" cy="533233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1416052" y="3020695"/>
            <a:ext cx="988059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әуекел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әрежесі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ақтандыру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арифтерін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аралау</a:t>
            </a:r>
            <a:endParaRPr lang="x-none" dirty="0">
              <a:latin typeface="Arial Narrow" panose="020B0606020202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416052" y="3709143"/>
            <a:ext cx="99774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әсіптік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әуекел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әрежесі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ойынша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зиянды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еңбек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жағдайларында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жұмыс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істейтін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дамдарға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рналған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әлеуметтік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епілдіктердің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үрлері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мен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өлемдерін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аралау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06067B5-5CC8-B2BC-503C-4B64DF4EAF81}"/>
              </a:ext>
            </a:extLst>
          </p:cNvPr>
          <p:cNvSpPr/>
          <p:nvPr/>
        </p:nvSpPr>
        <p:spPr>
          <a:xfrm>
            <a:off x="460375" y="4577971"/>
            <a:ext cx="11093448" cy="67294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455012" y="5684880"/>
            <a:ext cx="101377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Еңбек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аласындағы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емлекеттік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ақылаудың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жаңа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форматы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1416052" y="4753063"/>
            <a:ext cx="997745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Рисунок 26" descr="Банк">
            <a:extLst>
              <a:ext uri="{FF2B5EF4-FFF2-40B4-BE49-F238E27FC236}">
                <a16:creationId xmlns:a16="http://schemas.microsoft.com/office/drawing/2014/main" id="{7647D469-E8A7-12BA-F913-191C806ECD6D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598277" y="4605828"/>
            <a:ext cx="580967" cy="617227"/>
          </a:xfrm>
          <a:prstGeom prst="rect">
            <a:avLst/>
          </a:prstGeom>
        </p:spPr>
      </p:pic>
      <p:pic>
        <p:nvPicPr>
          <p:cNvPr id="28" name="Рисунок 149">
            <a:extLst>
              <a:ext uri="{FF2B5EF4-FFF2-40B4-BE49-F238E27FC236}">
                <a16:creationId xmlns:a16="http://schemas.microsoft.com/office/drawing/2014/main" id="{96D8C5EF-1115-C630-5737-6FB9DDC1751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432" y="5522509"/>
            <a:ext cx="582553" cy="582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1294460" y="1343051"/>
            <a:ext cx="34508" cy="4825789"/>
          </a:xfrm>
          <a:prstGeom prst="line">
            <a:avLst/>
          </a:prstGeom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1512606" y="4614001"/>
            <a:ext cx="98809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Еңбекті қорғау саласындағы кадрларды даярлау сапасын арттыру және кәсіптік тәуекел дәрежесін ескере отырып, құзыреттерді дамыту моделін енгізу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52025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349400A4-7AF8-6971-614E-A0A234F2235F}"/>
              </a:ext>
            </a:extLst>
          </p:cNvPr>
          <p:cNvSpPr/>
          <p:nvPr/>
        </p:nvSpPr>
        <p:spPr>
          <a:xfrm>
            <a:off x="192023" y="918972"/>
            <a:ext cx="4483735" cy="5514340"/>
          </a:xfrm>
          <a:custGeom>
            <a:avLst/>
            <a:gdLst/>
            <a:ahLst/>
            <a:cxnLst/>
            <a:rect l="l" t="t" r="r" b="b"/>
            <a:pathLst>
              <a:path w="4483735" h="5514340">
                <a:moveTo>
                  <a:pt x="3889883" y="0"/>
                </a:moveTo>
                <a:lnTo>
                  <a:pt x="0" y="0"/>
                </a:lnTo>
                <a:lnTo>
                  <a:pt x="0" y="5513832"/>
                </a:lnTo>
                <a:lnTo>
                  <a:pt x="3889883" y="5513832"/>
                </a:lnTo>
                <a:lnTo>
                  <a:pt x="4483608" y="2756916"/>
                </a:lnTo>
                <a:lnTo>
                  <a:pt x="3889883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1" name="TextBox 4">
            <a:extLst>
              <a:ext uri="{FF2B5EF4-FFF2-40B4-BE49-F238E27FC236}">
                <a16:creationId xmlns:a16="http://schemas.microsoft.com/office/drawing/2014/main" id="{595F4B44-D843-7995-828D-F682257BE8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4325" y="246064"/>
            <a:ext cx="121920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ТІ ҚОРҒАУДЫҢ ЖАҢА ИДЕОЛОГИЯСЫ: </a:t>
            </a:r>
            <a:r>
              <a:rPr lang="ru-RU" altLang="ru-RU" sz="17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altLang="ru-RU" sz="17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7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ын</a:t>
            </a:r>
            <a:r>
              <a:rPr lang="ru-RU" altLang="ru-RU" sz="17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7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sz="17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7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altLang="ru-RU" sz="17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7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ежесі</a:t>
            </a:r>
            <a:r>
              <a:rPr lang="ru-RU" altLang="ru-RU" sz="17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7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17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7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ралау</a:t>
            </a:r>
            <a:endParaRPr lang="ru-RU" altLang="ru-RU" sz="17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3" name="Прямая соединительная линия 92">
            <a:extLst>
              <a:ext uri="{FF2B5EF4-FFF2-40B4-BE49-F238E27FC236}">
                <a16:creationId xmlns:a16="http://schemas.microsoft.com/office/drawing/2014/main" id="{3428FE03-49F1-7250-CC61-19735AAC8088}"/>
              </a:ext>
            </a:extLst>
          </p:cNvPr>
          <p:cNvCxnSpPr>
            <a:cxnSpLocks/>
          </p:cNvCxnSpPr>
          <p:nvPr/>
        </p:nvCxnSpPr>
        <p:spPr>
          <a:xfrm>
            <a:off x="198438" y="615951"/>
            <a:ext cx="115617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4" name="Номер слайда 8">
            <a:extLst>
              <a:ext uri="{FF2B5EF4-FFF2-40B4-BE49-F238E27FC236}">
                <a16:creationId xmlns:a16="http://schemas.microsoft.com/office/drawing/2014/main" id="{B8238F48-5090-6FD6-3EAA-12BBD5C7747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9420225" y="6478588"/>
            <a:ext cx="27432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EA5ADDC8-F6AD-4BCB-9DE4-5E906DF3EEC9}" type="slidenum">
              <a:rPr lang="ru-RU" altLang="ru-RU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4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sp>
        <p:nvSpPr>
          <p:cNvPr id="7175" name="TextBox 1">
            <a:extLst>
              <a:ext uri="{FF2B5EF4-FFF2-40B4-BE49-F238E27FC236}">
                <a16:creationId xmlns:a16="http://schemas.microsoft.com/office/drawing/2014/main" id="{36B139CB-7E70-7402-6314-13EE6A0961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3538" y="2287588"/>
            <a:ext cx="1189037" cy="446087"/>
          </a:xfrm>
          <a:prstGeom prst="rect">
            <a:avLst/>
          </a:prstGeom>
          <a:solidFill>
            <a:srgbClr val="2E75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1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7176" name="TextBox 57">
            <a:extLst>
              <a:ext uri="{FF2B5EF4-FFF2-40B4-BE49-F238E27FC236}">
                <a16:creationId xmlns:a16="http://schemas.microsoft.com/office/drawing/2014/main" id="{9B14E7B6-3E1B-551D-22B9-5B3051D283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3538" y="3316288"/>
            <a:ext cx="1189037" cy="446087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2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7177" name="TextBox 58">
            <a:extLst>
              <a:ext uri="{FF2B5EF4-FFF2-40B4-BE49-F238E27FC236}">
                <a16:creationId xmlns:a16="http://schemas.microsoft.com/office/drawing/2014/main" id="{D9208072-5C95-4DEC-C831-AB0A97819F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3538" y="4021138"/>
            <a:ext cx="1189037" cy="446087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3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7178" name="TextBox 59">
            <a:extLst>
              <a:ext uri="{FF2B5EF4-FFF2-40B4-BE49-F238E27FC236}">
                <a16:creationId xmlns:a16="http://schemas.microsoft.com/office/drawing/2014/main" id="{2BC72A8A-E9CA-6834-E4A8-A997394787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3538" y="4716463"/>
            <a:ext cx="1189037" cy="461962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4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7180" name="TextBox 67">
            <a:extLst>
              <a:ext uri="{FF2B5EF4-FFF2-40B4-BE49-F238E27FC236}">
                <a16:creationId xmlns:a16="http://schemas.microsoft.com/office/drawing/2014/main" id="{3B049C04-54BE-49A2-3C2F-1FB4D516CA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3538" y="5472113"/>
            <a:ext cx="1189037" cy="447675"/>
          </a:xfrm>
          <a:prstGeom prst="rect">
            <a:avLst/>
          </a:prstGeom>
          <a:solidFill>
            <a:srgbClr val="779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5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7181" name="TextBox 81">
            <a:extLst>
              <a:ext uri="{FF2B5EF4-FFF2-40B4-BE49-F238E27FC236}">
                <a16:creationId xmlns:a16="http://schemas.microsoft.com/office/drawing/2014/main" id="{55C61060-45B4-07D6-DE13-FD5C810E11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70538" y="2720975"/>
            <a:ext cx="115411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ұқсат</a:t>
            </a: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ілген</a:t>
            </a:r>
            <a:endParaRPr lang="ru-RU" altLang="ru-RU" sz="9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18">
            <a:extLst>
              <a:ext uri="{FF2B5EF4-FFF2-40B4-BE49-F238E27FC236}">
                <a16:creationId xmlns:a16="http://schemas.microsoft.com/office/drawing/2014/main" id="{7DA8341A-C2C2-EEA4-87C1-B515E1B80A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69425" y="919163"/>
            <a:ext cx="2133600" cy="5762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КӘСІПОРЫН ҮШІН КӘСІПТІК ТӘУЕКЕЛДІ ИНТЕГРАЛДЫ БАҒАЛАУ</a:t>
            </a:r>
          </a:p>
        </p:txBody>
      </p:sp>
      <p:sp>
        <p:nvSpPr>
          <p:cNvPr id="7183" name="TextBox 99">
            <a:extLst>
              <a:ext uri="{FF2B5EF4-FFF2-40B4-BE49-F238E27FC236}">
                <a16:creationId xmlns:a16="http://schemas.microsoft.com/office/drawing/2014/main" id="{5D8EEFDC-07DD-A6A3-64CF-E442341DC6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64388" y="4051300"/>
            <a:ext cx="696912" cy="369888"/>
          </a:xfrm>
          <a:prstGeom prst="rect">
            <a:avLst/>
          </a:prstGeom>
          <a:solidFill>
            <a:srgbClr val="FFD9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С</a:t>
            </a:r>
          </a:p>
        </p:txBody>
      </p:sp>
      <p:sp>
        <p:nvSpPr>
          <p:cNvPr id="7184" name="TextBox 100">
            <a:extLst>
              <a:ext uri="{FF2B5EF4-FFF2-40B4-BE49-F238E27FC236}">
                <a16:creationId xmlns:a16="http://schemas.microsoft.com/office/drawing/2014/main" id="{EFD08F5E-1513-667B-193F-76776126BE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64388" y="3309938"/>
            <a:ext cx="704850" cy="446087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/>
              <a:t>D</a:t>
            </a:r>
            <a:endParaRPr lang="ru-RU" altLang="ru-RU" sz="1800" b="1"/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500" b="1"/>
          </a:p>
        </p:txBody>
      </p:sp>
      <p:sp>
        <p:nvSpPr>
          <p:cNvPr id="7185" name="TextBox 101">
            <a:extLst>
              <a:ext uri="{FF2B5EF4-FFF2-40B4-BE49-F238E27FC236}">
                <a16:creationId xmlns:a16="http://schemas.microsoft.com/office/drawing/2014/main" id="{C47E1566-71CA-CC4F-DD71-05A2C4885C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67563" y="4743450"/>
            <a:ext cx="704850" cy="368300"/>
          </a:xfrm>
          <a:prstGeom prst="rect">
            <a:avLst/>
          </a:prstGeom>
          <a:solidFill>
            <a:srgbClr val="FF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В</a:t>
            </a:r>
          </a:p>
        </p:txBody>
      </p:sp>
      <p:sp>
        <p:nvSpPr>
          <p:cNvPr id="7186" name="TextBox 103">
            <a:extLst>
              <a:ext uri="{FF2B5EF4-FFF2-40B4-BE49-F238E27FC236}">
                <a16:creationId xmlns:a16="http://schemas.microsoft.com/office/drawing/2014/main" id="{B34B6E70-AB59-6377-90F3-E3C24E56CD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54863" y="5476875"/>
            <a:ext cx="704850" cy="369888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>
                <a:solidFill>
                  <a:schemeClr val="bg1"/>
                </a:solidFill>
              </a:rPr>
              <a:t>A</a:t>
            </a:r>
            <a:endParaRPr lang="ru-RU" altLang="ru-RU" sz="1800" b="1">
              <a:solidFill>
                <a:schemeClr val="bg1"/>
              </a:solidFill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852A2341-E13F-EBCC-146B-CA6A577827EC}"/>
              </a:ext>
            </a:extLst>
          </p:cNvPr>
          <p:cNvSpPr txBox="1"/>
          <p:nvPr/>
        </p:nvSpPr>
        <p:spPr>
          <a:xfrm>
            <a:off x="7880350" y="5478463"/>
            <a:ext cx="1093788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ды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ныс</a:t>
            </a:r>
            <a:endParaRPr lang="ru-RU" sz="9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DBDE0E21-8ED2-3796-D282-66D1FC4D2419}"/>
              </a:ext>
            </a:extLst>
          </p:cNvPr>
          <p:cNvSpPr txBox="1"/>
          <p:nvPr/>
        </p:nvSpPr>
        <p:spPr>
          <a:xfrm>
            <a:off x="7854950" y="3324225"/>
            <a:ext cx="102076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ды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ныс</a:t>
            </a:r>
            <a:endParaRPr lang="ru-RU" sz="9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41EC6516-EC42-5212-6676-2DF9021885E2}"/>
              </a:ext>
            </a:extLst>
          </p:cNvPr>
          <p:cNvSpPr txBox="1"/>
          <p:nvPr/>
        </p:nvSpPr>
        <p:spPr>
          <a:xfrm>
            <a:off x="7888288" y="4027488"/>
            <a:ext cx="820737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ныс</a:t>
            </a:r>
            <a:endParaRPr lang="ru-RU" sz="9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B8F86160-3DE5-729F-6B2C-68E195704694}"/>
              </a:ext>
            </a:extLst>
          </p:cNvPr>
          <p:cNvSpPr txBox="1"/>
          <p:nvPr/>
        </p:nvSpPr>
        <p:spPr>
          <a:xfrm>
            <a:off x="7888288" y="4737100"/>
            <a:ext cx="81915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ныс</a:t>
            </a:r>
            <a:endParaRPr lang="ru-RU" sz="9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5" name="Группа 144">
            <a:extLst>
              <a:ext uri="{FF2B5EF4-FFF2-40B4-BE49-F238E27FC236}">
                <a16:creationId xmlns:a16="http://schemas.microsoft.com/office/drawing/2014/main" id="{CA0817F5-29DB-CB2A-44D3-64E6BD8AC7D7}"/>
              </a:ext>
            </a:extLst>
          </p:cNvPr>
          <p:cNvGrpSpPr/>
          <p:nvPr/>
        </p:nvGrpSpPr>
        <p:grpSpPr bwMode="auto">
          <a:xfrm rot="10800000" flipH="1">
            <a:off x="6813983" y="3686741"/>
            <a:ext cx="235937" cy="2345950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146" name="Шеврон 20">
              <a:extLst>
                <a:ext uri="{FF2B5EF4-FFF2-40B4-BE49-F238E27FC236}">
                  <a16:creationId xmlns:a16="http://schemas.microsoft.com/office/drawing/2014/main" id="{5D9A46E5-54DF-B8A3-8537-2A441246FDF1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47" name="Шеврон 71">
              <a:extLst>
                <a:ext uri="{FF2B5EF4-FFF2-40B4-BE49-F238E27FC236}">
                  <a16:creationId xmlns:a16="http://schemas.microsoft.com/office/drawing/2014/main" id="{4E892C03-DACE-2079-8C0B-D5CC586E7666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7192" name="TextBox 61">
            <a:extLst>
              <a:ext uri="{FF2B5EF4-FFF2-40B4-BE49-F238E27FC236}">
                <a16:creationId xmlns:a16="http://schemas.microsoft.com/office/drawing/2014/main" id="{1419B0BB-8F37-D6AB-5C2C-6253AF8A42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07782" y="628651"/>
            <a:ext cx="28622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Й БОЛАДЫ</a:t>
            </a:r>
          </a:p>
        </p:txBody>
      </p:sp>
      <p:sp>
        <p:nvSpPr>
          <p:cNvPr id="7211" name="TextBox 82">
            <a:extLst>
              <a:ext uri="{FF2B5EF4-FFF2-40B4-BE49-F238E27FC236}">
                <a16:creationId xmlns:a16="http://schemas.microsoft.com/office/drawing/2014/main" id="{97971D35-82AD-A51B-024D-DDE5C92B9B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988" y="3741738"/>
            <a:ext cx="5921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</a:t>
            </a: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212" name="TextBox 83">
            <a:extLst>
              <a:ext uri="{FF2B5EF4-FFF2-40B4-BE49-F238E27FC236}">
                <a16:creationId xmlns:a16="http://schemas.microsoft.com/office/drawing/2014/main" id="{3234DCAE-B5C9-7061-F555-143A57331A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88013" y="4429125"/>
            <a:ext cx="7239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213" name="TextBox 84">
            <a:extLst>
              <a:ext uri="{FF2B5EF4-FFF2-40B4-BE49-F238E27FC236}">
                <a16:creationId xmlns:a16="http://schemas.microsoft.com/office/drawing/2014/main" id="{508BAD13-6BED-261A-026C-83A443E18B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95950" y="5159375"/>
            <a:ext cx="71437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endParaRPr lang="ru-RU" altLang="ru-RU" sz="9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14" name="TextBox 85">
            <a:extLst>
              <a:ext uri="{FF2B5EF4-FFF2-40B4-BE49-F238E27FC236}">
                <a16:creationId xmlns:a16="http://schemas.microsoft.com/office/drawing/2014/main" id="{1F7774BC-4A40-883B-DB2C-782C2F5EBE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24488" y="5919788"/>
            <a:ext cx="117316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е</a:t>
            </a: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endParaRPr lang="ru-RU" altLang="ru-RU" sz="9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15" name="Прямоугольник 183">
            <a:extLst>
              <a:ext uri="{FF2B5EF4-FFF2-40B4-BE49-F238E27FC236}">
                <a16:creationId xmlns:a16="http://schemas.microsoft.com/office/drawing/2014/main" id="{03F3CCCF-40CD-81FC-1E33-02FE5DA495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9700" y="950913"/>
            <a:ext cx="3322638" cy="253916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x-none" sz="1050" b="1" dirty="0">
                <a:latin typeface="Arial" panose="020B0604020202020204" pitchFamily="34" charset="0"/>
                <a:cs typeface="Arial" panose="020B0604020202020204" pitchFamily="34" charset="0"/>
              </a:rPr>
              <a:t>КӘСІПТІК ТӘУЕКЕЛДІ БАҒАЛАУ</a:t>
            </a:r>
          </a:p>
        </p:txBody>
      </p:sp>
      <p:sp>
        <p:nvSpPr>
          <p:cNvPr id="7216" name="TextBox 61">
            <a:extLst>
              <a:ext uri="{FF2B5EF4-FFF2-40B4-BE49-F238E27FC236}">
                <a16:creationId xmlns:a16="http://schemas.microsoft.com/office/drawing/2014/main" id="{27A4975D-54FC-BE3F-C6EB-6E2FEEE58B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68888" y="1866900"/>
            <a:ext cx="19970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ежесі</a:t>
            </a:r>
            <a:endParaRPr lang="ru-RU" altLang="ru-RU" sz="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17" name="TextBox 61">
            <a:extLst>
              <a:ext uri="{FF2B5EF4-FFF2-40B4-BE49-F238E27FC236}">
                <a16:creationId xmlns:a16="http://schemas.microsoft.com/office/drawing/2014/main" id="{E4EFCDC9-5D30-B401-F78B-08158AF446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15188" y="1835150"/>
            <a:ext cx="156845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ын</a:t>
            </a: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ежесі</a:t>
            </a: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керді</a:t>
            </a: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у</a:t>
            </a: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ңгейі</a:t>
            </a: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ралау</a:t>
            </a:r>
            <a:endParaRPr lang="ru-RU" altLang="ru-RU" sz="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18" name="TextBox 61">
            <a:extLst>
              <a:ext uri="{FF2B5EF4-FFF2-40B4-BE49-F238E27FC236}">
                <a16:creationId xmlns:a16="http://schemas.microsoft.com/office/drawing/2014/main" id="{A9D87357-F44D-0FA1-3B5C-B6BB345D5F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90075" y="1490663"/>
            <a:ext cx="196056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бір</a:t>
            </a: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ындағы</a:t>
            </a: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ге</a:t>
            </a: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делген</a:t>
            </a:r>
            <a:endParaRPr lang="ru-RU" altLang="ru-RU" sz="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2" name="Схема 191">
            <a:extLst>
              <a:ext uri="{FF2B5EF4-FFF2-40B4-BE49-F238E27FC236}">
                <a16:creationId xmlns:a16="http://schemas.microsoft.com/office/drawing/2014/main" id="{343156AE-7486-1EBE-A44F-DF667A5A94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5376379"/>
              </p:ext>
            </p:extLst>
          </p:nvPr>
        </p:nvGraphicFramePr>
        <p:xfrm>
          <a:off x="9146685" y="2709403"/>
          <a:ext cx="2899011" cy="3722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94" name="Прямая соединительная линия 193">
            <a:extLst>
              <a:ext uri="{FF2B5EF4-FFF2-40B4-BE49-F238E27FC236}">
                <a16:creationId xmlns:a16="http://schemas.microsoft.com/office/drawing/2014/main" id="{9C2AD12B-EAEF-F238-75B1-6B12A60BA0B4}"/>
              </a:ext>
            </a:extLst>
          </p:cNvPr>
          <p:cNvCxnSpPr>
            <a:cxnSpLocks/>
          </p:cNvCxnSpPr>
          <p:nvPr/>
        </p:nvCxnSpPr>
        <p:spPr>
          <a:xfrm>
            <a:off x="8875713" y="1368425"/>
            <a:ext cx="0" cy="484981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2DDA5B70-179C-8D8D-6D69-428F258FBB46}"/>
              </a:ext>
            </a:extLst>
          </p:cNvPr>
          <p:cNvCxnSpPr>
            <a:cxnSpLocks/>
          </p:cNvCxnSpPr>
          <p:nvPr/>
        </p:nvCxnSpPr>
        <p:spPr>
          <a:xfrm flipV="1">
            <a:off x="2811463" y="3584575"/>
            <a:ext cx="2571750" cy="4763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Прямая со стрелкой 194">
            <a:extLst>
              <a:ext uri="{FF2B5EF4-FFF2-40B4-BE49-F238E27FC236}">
                <a16:creationId xmlns:a16="http://schemas.microsoft.com/office/drawing/2014/main" id="{E99BA486-AF51-1720-8285-5750D41C913D}"/>
              </a:ext>
            </a:extLst>
          </p:cNvPr>
          <p:cNvCxnSpPr/>
          <p:nvPr/>
        </p:nvCxnSpPr>
        <p:spPr>
          <a:xfrm flipV="1">
            <a:off x="2814638" y="4232275"/>
            <a:ext cx="2571750" cy="4763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Прямая со стрелкой 197">
            <a:extLst>
              <a:ext uri="{FF2B5EF4-FFF2-40B4-BE49-F238E27FC236}">
                <a16:creationId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2733675" y="2606675"/>
            <a:ext cx="2571750" cy="4763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Прямая со стрелкой 195">
            <a:extLst>
              <a:ext uri="{FF2B5EF4-FFF2-40B4-BE49-F238E27FC236}">
                <a16:creationId xmlns:a16="http://schemas.microsoft.com/office/drawing/2014/main" id="{2933DB66-80D5-CDD4-2551-48BCC56C787A}"/>
              </a:ext>
            </a:extLst>
          </p:cNvPr>
          <p:cNvCxnSpPr/>
          <p:nvPr/>
        </p:nvCxnSpPr>
        <p:spPr>
          <a:xfrm flipV="1">
            <a:off x="2832100" y="4879975"/>
            <a:ext cx="2571750" cy="4763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Прямая со стрелкой 196">
            <a:extLst>
              <a:ext uri="{FF2B5EF4-FFF2-40B4-BE49-F238E27FC236}">
                <a16:creationId xmlns:a16="http://schemas.microsoft.com/office/drawing/2014/main" id="{413299D5-BD6B-6A65-0259-FC80F765A5E3}"/>
              </a:ext>
            </a:extLst>
          </p:cNvPr>
          <p:cNvCxnSpPr/>
          <p:nvPr/>
        </p:nvCxnSpPr>
        <p:spPr>
          <a:xfrm flipV="1">
            <a:off x="2835275" y="5586413"/>
            <a:ext cx="2571750" cy="4762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FE0B654B-0C0C-425A-90CC-079AAC68D1D5}"/>
              </a:ext>
            </a:extLst>
          </p:cNvPr>
          <p:cNvSpPr/>
          <p:nvPr/>
        </p:nvSpPr>
        <p:spPr>
          <a:xfrm>
            <a:off x="4927600" y="885825"/>
            <a:ext cx="7213600" cy="5592763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object 10">
            <a:extLst>
              <a:ext uri="{FF2B5EF4-FFF2-40B4-BE49-F238E27FC236}">
                <a16:creationId xmlns:a16="http://schemas.microsoft.com/office/drawing/2014/main" id="{C232CF3E-76BF-2BFB-45D5-FA45B49E6553}"/>
              </a:ext>
            </a:extLst>
          </p:cNvPr>
          <p:cNvSpPr txBox="1"/>
          <p:nvPr/>
        </p:nvSpPr>
        <p:spPr>
          <a:xfrm>
            <a:off x="246989" y="1678305"/>
            <a:ext cx="2754840" cy="1365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800" b="1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 ЖАҒДАЙЛАРЫНЫҢ СЫНЫПТАРЫ</a:t>
            </a:r>
            <a:endParaRPr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bject 28">
            <a:extLst>
              <a:ext uri="{FF2B5EF4-FFF2-40B4-BE49-F238E27FC236}">
                <a16:creationId xmlns:a16="http://schemas.microsoft.com/office/drawing/2014/main" id="{CA5F5B0A-4BE4-26A1-9C05-AE1C004F9FCE}"/>
              </a:ext>
            </a:extLst>
          </p:cNvPr>
          <p:cNvSpPr txBox="1"/>
          <p:nvPr/>
        </p:nvSpPr>
        <p:spPr>
          <a:xfrm>
            <a:off x="381000" y="2634995"/>
            <a:ext cx="901065" cy="219932"/>
          </a:xfrm>
          <a:prstGeom prst="rect">
            <a:avLst/>
          </a:prstGeom>
          <a:solidFill>
            <a:srgbClr val="2D75B6"/>
          </a:solidFill>
        </p:spPr>
        <p:txBody>
          <a:bodyPr vert="horz" wrap="square" lIns="0" tIns="34925" rIns="0" bIns="0" rtlCol="0">
            <a:spAutoFit/>
          </a:bodyPr>
          <a:lstStyle/>
          <a:p>
            <a:pPr marL="175260">
              <a:lnSpc>
                <a:spcPct val="100000"/>
              </a:lnSpc>
              <a:spcBef>
                <a:spcPts val="275"/>
              </a:spcBef>
            </a:pPr>
            <a:r>
              <a:rPr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kk-KZ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нып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29">
            <a:extLst>
              <a:ext uri="{FF2B5EF4-FFF2-40B4-BE49-F238E27FC236}">
                <a16:creationId xmlns:a16="http://schemas.microsoft.com/office/drawing/2014/main" id="{90DC7543-0E5F-102A-7C57-DEA79A359C0A}"/>
              </a:ext>
            </a:extLst>
          </p:cNvPr>
          <p:cNvSpPr txBox="1"/>
          <p:nvPr/>
        </p:nvSpPr>
        <p:spPr>
          <a:xfrm>
            <a:off x="1524000" y="3335820"/>
            <a:ext cx="1217619" cy="245580"/>
          </a:xfrm>
          <a:prstGeom prst="rect">
            <a:avLst/>
          </a:prstGeom>
          <a:solidFill>
            <a:srgbClr val="5B9BD4"/>
          </a:solidFill>
        </p:spPr>
        <p:txBody>
          <a:bodyPr vert="horz" wrap="square" lIns="0" tIns="29845" rIns="0" bIns="0" rtlCol="0">
            <a:spAutoFit/>
          </a:bodyPr>
          <a:lstStyle/>
          <a:p>
            <a:pPr marL="5715" algn="ctr">
              <a:lnSpc>
                <a:spcPct val="100000"/>
              </a:lnSpc>
              <a:spcBef>
                <a:spcPts val="235"/>
              </a:spcBef>
            </a:pPr>
            <a:r>
              <a:rPr sz="1400" b="1" dirty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3.1</a:t>
            </a:r>
            <a:endParaRPr sz="14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object 31">
            <a:extLst>
              <a:ext uri="{FF2B5EF4-FFF2-40B4-BE49-F238E27FC236}">
                <a16:creationId xmlns:a16="http://schemas.microsoft.com/office/drawing/2014/main" id="{461C826B-0560-5E93-7381-DE0940A63E79}"/>
              </a:ext>
            </a:extLst>
          </p:cNvPr>
          <p:cNvSpPr txBox="1"/>
          <p:nvPr/>
        </p:nvSpPr>
        <p:spPr>
          <a:xfrm>
            <a:off x="1524000" y="4021620"/>
            <a:ext cx="1217619" cy="245580"/>
          </a:xfrm>
          <a:prstGeom prst="rect">
            <a:avLst/>
          </a:prstGeom>
          <a:solidFill>
            <a:srgbClr val="5B9BD4"/>
          </a:solidFill>
        </p:spPr>
        <p:txBody>
          <a:bodyPr vert="horz" wrap="square" lIns="0" tIns="2984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35"/>
              </a:spcBef>
            </a:pPr>
            <a:r>
              <a:rPr sz="1400" b="1" dirty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3.2</a:t>
            </a:r>
            <a:endParaRPr sz="14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1" name="object 32">
            <a:extLst>
              <a:ext uri="{FF2B5EF4-FFF2-40B4-BE49-F238E27FC236}">
                <a16:creationId xmlns:a16="http://schemas.microsoft.com/office/drawing/2014/main" id="{F762DE13-3931-EF49-48B4-FF21611F76D7}"/>
              </a:ext>
            </a:extLst>
          </p:cNvPr>
          <p:cNvSpPr txBox="1"/>
          <p:nvPr/>
        </p:nvSpPr>
        <p:spPr>
          <a:xfrm>
            <a:off x="381000" y="1970532"/>
            <a:ext cx="901065" cy="218650"/>
          </a:xfrm>
          <a:prstGeom prst="rect">
            <a:avLst/>
          </a:prstGeom>
          <a:solidFill>
            <a:srgbClr val="295E7D"/>
          </a:solidFill>
        </p:spPr>
        <p:txBody>
          <a:bodyPr vert="horz" wrap="square" lIns="0" tIns="33655" rIns="0" bIns="0" rtlCol="0">
            <a:spAutoFit/>
          </a:bodyPr>
          <a:lstStyle/>
          <a:p>
            <a:pPr marL="175260">
              <a:lnSpc>
                <a:spcPct val="100000"/>
              </a:lnSpc>
              <a:spcBef>
                <a:spcPts val="265"/>
              </a:spcBef>
            </a:pPr>
            <a:r>
              <a:rPr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kk-KZ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нып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bject 33">
            <a:extLst>
              <a:ext uri="{FF2B5EF4-FFF2-40B4-BE49-F238E27FC236}">
                <a16:creationId xmlns:a16="http://schemas.microsoft.com/office/drawing/2014/main" id="{010C004B-D968-14A4-390B-EE0E61D6E558}"/>
              </a:ext>
            </a:extLst>
          </p:cNvPr>
          <p:cNvSpPr txBox="1"/>
          <p:nvPr/>
        </p:nvSpPr>
        <p:spPr>
          <a:xfrm>
            <a:off x="315468" y="4369308"/>
            <a:ext cx="901065" cy="219291"/>
          </a:xfrm>
          <a:prstGeom prst="rect">
            <a:avLst/>
          </a:prstGeom>
          <a:solidFill>
            <a:srgbClr val="5B9BD4"/>
          </a:solidFill>
        </p:spPr>
        <p:txBody>
          <a:bodyPr vert="horz" wrap="square" lIns="0" tIns="34290" rIns="0" bIns="0" rtlCol="0">
            <a:spAutoFit/>
          </a:bodyPr>
          <a:lstStyle/>
          <a:p>
            <a:pPr marL="175895">
              <a:lnSpc>
                <a:spcPct val="100000"/>
              </a:lnSpc>
              <a:spcBef>
                <a:spcPts val="270"/>
              </a:spcBef>
            </a:pPr>
            <a:r>
              <a:rPr lang="kk-KZ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сынып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bject 34">
            <a:extLst>
              <a:ext uri="{FF2B5EF4-FFF2-40B4-BE49-F238E27FC236}">
                <a16:creationId xmlns:a16="http://schemas.microsoft.com/office/drawing/2014/main" id="{0FFFBA04-64CE-AB9F-88D5-2B7764617B28}"/>
              </a:ext>
            </a:extLst>
          </p:cNvPr>
          <p:cNvSpPr txBox="1"/>
          <p:nvPr/>
        </p:nvSpPr>
        <p:spPr>
          <a:xfrm>
            <a:off x="1516570" y="4267201"/>
            <a:ext cx="1225050" cy="260969"/>
          </a:xfrm>
          <a:prstGeom prst="rect">
            <a:avLst/>
          </a:prstGeom>
          <a:solidFill>
            <a:srgbClr val="FFFFFF"/>
          </a:solidFill>
          <a:ln w="12700">
            <a:solidFill>
              <a:srgbClr val="4471C4"/>
            </a:solidFill>
          </a:ln>
        </p:spPr>
        <p:txBody>
          <a:bodyPr vert="horz" wrap="square" lIns="0" tIns="45085" rIns="0" bIns="0" rtlCol="0" anchor="ctr">
            <a:spAutoFit/>
          </a:bodyPr>
          <a:lstStyle/>
          <a:p>
            <a:pPr marL="149225" algn="ctr">
              <a:lnSpc>
                <a:spcPct val="100000"/>
              </a:lnSpc>
              <a:spcBef>
                <a:spcPts val="355"/>
              </a:spcBef>
            </a:pPr>
            <a:r>
              <a:rPr lang="ru-RU" sz="7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қы</a:t>
            </a:r>
            <a:r>
              <a:rPr lang="ru-RU" sz="7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sz="7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рулардың</a:t>
            </a:r>
            <a:r>
              <a:rPr lang="ru-RU" sz="7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38">
            <a:extLst>
              <a:ext uri="{FF2B5EF4-FFF2-40B4-BE49-F238E27FC236}">
                <a16:creationId xmlns:a16="http://schemas.microsoft.com/office/drawing/2014/main" id="{D2FF5FD6-BB72-778D-74AE-A7F525AA5813}"/>
              </a:ext>
            </a:extLst>
          </p:cNvPr>
          <p:cNvSpPr txBox="1"/>
          <p:nvPr/>
        </p:nvSpPr>
        <p:spPr>
          <a:xfrm>
            <a:off x="1535987" y="4611424"/>
            <a:ext cx="1190618" cy="251351"/>
          </a:xfrm>
          <a:prstGeom prst="rect">
            <a:avLst/>
          </a:prstGeom>
          <a:solidFill>
            <a:srgbClr val="5B9BD4"/>
          </a:solidFill>
          <a:ln w="9525">
            <a:solidFill>
              <a:srgbClr val="1F487C"/>
            </a:solidFill>
          </a:ln>
        </p:spPr>
        <p:txBody>
          <a:bodyPr vert="horz" wrap="square" lIns="0" tIns="3556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80"/>
              </a:spcBef>
            </a:pPr>
            <a:r>
              <a:rPr sz="1400" b="1" dirty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3.3</a:t>
            </a:r>
            <a:endParaRPr sz="14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5" name="object 39">
            <a:extLst>
              <a:ext uri="{FF2B5EF4-FFF2-40B4-BE49-F238E27FC236}">
                <a16:creationId xmlns:a16="http://schemas.microsoft.com/office/drawing/2014/main" id="{640757BD-C1F5-457F-4F44-F4C55577117D}"/>
              </a:ext>
            </a:extLst>
          </p:cNvPr>
          <p:cNvSpPr txBox="1"/>
          <p:nvPr/>
        </p:nvSpPr>
        <p:spPr>
          <a:xfrm>
            <a:off x="1531608" y="3583729"/>
            <a:ext cx="1210011" cy="26032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algn="ctr">
              <a:defRPr sz="7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r>
              <a:rPr lang="ru-RU" dirty="0" err="1"/>
              <a:t>Қайтымды</a:t>
            </a:r>
            <a:r>
              <a:rPr lang="ru-RU" dirty="0"/>
              <a:t> </a:t>
            </a:r>
            <a:r>
              <a:rPr lang="ru-RU" dirty="0" err="1"/>
              <a:t>функциялар</a:t>
            </a:r>
            <a:r>
              <a:rPr lang="ru-RU" dirty="0"/>
              <a:t>  </a:t>
            </a:r>
            <a:r>
              <a:rPr lang="ru-RU" dirty="0" err="1"/>
              <a:t>өзгерістер</a:t>
            </a:r>
            <a:endParaRPr dirty="0"/>
          </a:p>
        </p:txBody>
      </p:sp>
      <p:sp>
        <p:nvSpPr>
          <p:cNvPr id="16" name="object 42">
            <a:extLst>
              <a:ext uri="{FF2B5EF4-FFF2-40B4-BE49-F238E27FC236}">
                <a16:creationId xmlns:a16="http://schemas.microsoft.com/office/drawing/2014/main" id="{7CFA0917-9B48-BCBA-817A-4ECB0E9D4EFC}"/>
              </a:ext>
            </a:extLst>
          </p:cNvPr>
          <p:cNvSpPr txBox="1"/>
          <p:nvPr/>
        </p:nvSpPr>
        <p:spPr>
          <a:xfrm>
            <a:off x="1499450" y="5390207"/>
            <a:ext cx="1190618" cy="245580"/>
          </a:xfrm>
          <a:prstGeom prst="rect">
            <a:avLst/>
          </a:prstGeom>
          <a:solidFill>
            <a:srgbClr val="5B9BD4"/>
          </a:solidFill>
        </p:spPr>
        <p:txBody>
          <a:bodyPr vert="horz" wrap="square" lIns="0" tIns="2984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35"/>
              </a:spcBef>
            </a:pPr>
            <a:r>
              <a:rPr sz="1400" b="1" dirty="0">
                <a:solidFill>
                  <a:srgbClr val="FFFFFF"/>
                </a:solidFill>
                <a:latin typeface="+mn-lt"/>
                <a:cs typeface="Arial" panose="020B0604020202020204" pitchFamily="34" charset="0"/>
              </a:rPr>
              <a:t>3.4</a:t>
            </a:r>
            <a:endParaRPr sz="14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object 43">
            <a:extLst>
              <a:ext uri="{FF2B5EF4-FFF2-40B4-BE49-F238E27FC236}">
                <a16:creationId xmlns:a16="http://schemas.microsoft.com/office/drawing/2014/main" id="{3BAE7D80-0025-6C4A-1087-7BCC96F3591A}"/>
              </a:ext>
            </a:extLst>
          </p:cNvPr>
          <p:cNvSpPr txBox="1"/>
          <p:nvPr/>
        </p:nvSpPr>
        <p:spPr>
          <a:xfrm>
            <a:off x="330708" y="5948171"/>
            <a:ext cx="899160" cy="220573"/>
          </a:xfrm>
          <a:prstGeom prst="rect">
            <a:avLst/>
          </a:prstGeom>
          <a:solidFill>
            <a:srgbClr val="7799B1"/>
          </a:solidFill>
        </p:spPr>
        <p:txBody>
          <a:bodyPr vert="horz" wrap="square" lIns="0" tIns="35560" rIns="0" bIns="0" rtlCol="0">
            <a:spAutoFit/>
          </a:bodyPr>
          <a:lstStyle/>
          <a:p>
            <a:pPr marL="175260">
              <a:lnSpc>
                <a:spcPct val="100000"/>
              </a:lnSpc>
              <a:spcBef>
                <a:spcPts val="280"/>
              </a:spcBef>
            </a:pPr>
            <a:r>
              <a:rPr lang="kk-KZ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сынып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object 44">
            <a:extLst>
              <a:ext uri="{FF2B5EF4-FFF2-40B4-BE49-F238E27FC236}">
                <a16:creationId xmlns:a16="http://schemas.microsoft.com/office/drawing/2014/main" id="{7E486ED8-3439-B245-3425-BE17C1DEB100}"/>
              </a:ext>
            </a:extLst>
          </p:cNvPr>
          <p:cNvSpPr txBox="1"/>
          <p:nvPr/>
        </p:nvSpPr>
        <p:spPr>
          <a:xfrm>
            <a:off x="509422" y="6233871"/>
            <a:ext cx="540385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kk-KZ" sz="900" b="1" dirty="0">
                <a:solidFill>
                  <a:srgbClr val="1F48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уіпті</a:t>
            </a:r>
            <a:endParaRPr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object 45">
            <a:extLst>
              <a:ext uri="{FF2B5EF4-FFF2-40B4-BE49-F238E27FC236}">
                <a16:creationId xmlns:a16="http://schemas.microsoft.com/office/drawing/2014/main" id="{7CDBD90D-0DC7-B4F0-3760-4D34F959F047}"/>
              </a:ext>
            </a:extLst>
          </p:cNvPr>
          <p:cNvSpPr txBox="1"/>
          <p:nvPr/>
        </p:nvSpPr>
        <p:spPr>
          <a:xfrm>
            <a:off x="526491" y="4726940"/>
            <a:ext cx="544830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kk-KZ" sz="900" b="1" dirty="0">
                <a:solidFill>
                  <a:srgbClr val="1F48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иянды</a:t>
            </a:r>
            <a:endParaRPr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object 46">
            <a:extLst>
              <a:ext uri="{FF2B5EF4-FFF2-40B4-BE49-F238E27FC236}">
                <a16:creationId xmlns:a16="http://schemas.microsoft.com/office/drawing/2014/main" id="{0BC62DBE-0035-A3DC-888B-947CFDF86E77}"/>
              </a:ext>
            </a:extLst>
          </p:cNvPr>
          <p:cNvSpPr txBox="1"/>
          <p:nvPr/>
        </p:nvSpPr>
        <p:spPr>
          <a:xfrm>
            <a:off x="2963417" y="1897507"/>
            <a:ext cx="1563370" cy="56746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indent="1270" algn="ctr">
              <a:lnSpc>
                <a:spcPct val="100000"/>
              </a:lnSpc>
              <a:spcBef>
                <a:spcPts val="105"/>
              </a:spcBef>
            </a:pPr>
            <a:r>
              <a:rPr lang="ru-RU" sz="900" b="1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900" b="1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ында</a:t>
            </a:r>
            <a:r>
              <a:rPr lang="ru-RU" sz="900" b="1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уіпсіз</a:t>
            </a:r>
            <a:r>
              <a:rPr lang="ru-RU" sz="900" b="1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900" b="1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иянды</a:t>
            </a:r>
            <a:r>
              <a:rPr lang="ru-RU" sz="900" b="1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900" b="1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900" b="1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900" b="1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уіпті</a:t>
            </a:r>
            <a:r>
              <a:rPr lang="ru-RU" sz="900" b="1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900" b="1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лары</a:t>
            </a:r>
            <a:r>
              <a:rPr lang="ru-RU" sz="900" b="1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неді</a:t>
            </a:r>
            <a:endParaRPr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object 107">
            <a:extLst>
              <a:ext uri="{FF2B5EF4-FFF2-40B4-BE49-F238E27FC236}">
                <a16:creationId xmlns:a16="http://schemas.microsoft.com/office/drawing/2014/main" id="{665FDFB5-EAC4-72B3-D1CC-FAABABAF77B1}"/>
              </a:ext>
            </a:extLst>
          </p:cNvPr>
          <p:cNvSpPr txBox="1"/>
          <p:nvPr/>
        </p:nvSpPr>
        <p:spPr>
          <a:xfrm>
            <a:off x="255114" y="1864138"/>
            <a:ext cx="2542540" cy="1325880"/>
          </a:xfrm>
          <a:prstGeom prst="rect">
            <a:avLst/>
          </a:prstGeom>
          <a:ln w="12700">
            <a:solidFill>
              <a:srgbClr val="41709C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8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5740">
              <a:lnSpc>
                <a:spcPts val="1030"/>
              </a:lnSpc>
            </a:pPr>
            <a:r>
              <a:rPr lang="kk-KZ" sz="900" b="1" dirty="0">
                <a:solidFill>
                  <a:srgbClr val="1F48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ңтайлы</a:t>
            </a:r>
            <a:endParaRPr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620520">
              <a:lnSpc>
                <a:spcPts val="1030"/>
              </a:lnSpc>
            </a:pPr>
            <a:r>
              <a:rPr lang="kk-KZ" sz="900" b="1" dirty="0">
                <a:solidFill>
                  <a:srgbClr val="1F48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уіпсіз</a:t>
            </a:r>
            <a:endParaRPr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sz="11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5265">
              <a:lnSpc>
                <a:spcPct val="100000"/>
              </a:lnSpc>
            </a:pPr>
            <a:r>
              <a:rPr lang="kk-KZ" sz="900" b="1" dirty="0">
                <a:solidFill>
                  <a:srgbClr val="1F48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ұқсат етілген</a:t>
            </a:r>
            <a:endParaRPr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bject 109">
            <a:extLst>
              <a:ext uri="{FF2B5EF4-FFF2-40B4-BE49-F238E27FC236}">
                <a16:creationId xmlns:a16="http://schemas.microsoft.com/office/drawing/2014/main" id="{A46599F5-B4AA-CE0D-BD52-7013D9DEF765}"/>
              </a:ext>
            </a:extLst>
          </p:cNvPr>
          <p:cNvSpPr/>
          <p:nvPr/>
        </p:nvSpPr>
        <p:spPr>
          <a:xfrm>
            <a:off x="2742539" y="5601036"/>
            <a:ext cx="1205230" cy="532130"/>
          </a:xfrm>
          <a:custGeom>
            <a:avLst/>
            <a:gdLst/>
            <a:ahLst/>
            <a:cxnLst/>
            <a:rect l="l" t="t" r="r" b="b"/>
            <a:pathLst>
              <a:path w="1205229" h="532129">
                <a:moveTo>
                  <a:pt x="0" y="531812"/>
                </a:moveTo>
                <a:lnTo>
                  <a:pt x="602488" y="531812"/>
                </a:lnTo>
                <a:lnTo>
                  <a:pt x="602488" y="0"/>
                </a:lnTo>
                <a:lnTo>
                  <a:pt x="1204849" y="0"/>
                </a:lnTo>
              </a:path>
            </a:pathLst>
          </a:custGeom>
          <a:ln w="6350">
            <a:solidFill>
              <a:srgbClr val="5B9BD4"/>
            </a:solidFill>
            <a:prstDash val="sysDash"/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object 111">
            <a:extLst>
              <a:ext uri="{FF2B5EF4-FFF2-40B4-BE49-F238E27FC236}">
                <a16:creationId xmlns:a16="http://schemas.microsoft.com/office/drawing/2014/main" id="{2FF146F3-662F-41C5-F7E1-7BC090599E3E}"/>
              </a:ext>
            </a:extLst>
          </p:cNvPr>
          <p:cNvSpPr/>
          <p:nvPr/>
        </p:nvSpPr>
        <p:spPr>
          <a:xfrm>
            <a:off x="1078331" y="3276936"/>
            <a:ext cx="218440" cy="2578735"/>
          </a:xfrm>
          <a:custGeom>
            <a:avLst/>
            <a:gdLst/>
            <a:ahLst/>
            <a:cxnLst/>
            <a:rect l="l" t="t" r="r" b="b"/>
            <a:pathLst>
              <a:path w="218440" h="2578735">
                <a:moveTo>
                  <a:pt x="217932" y="2578608"/>
                </a:moveTo>
                <a:lnTo>
                  <a:pt x="175510" y="2577181"/>
                </a:lnTo>
                <a:lnTo>
                  <a:pt x="140874" y="2573289"/>
                </a:lnTo>
                <a:lnTo>
                  <a:pt x="117526" y="2567517"/>
                </a:lnTo>
                <a:lnTo>
                  <a:pt x="108966" y="2560447"/>
                </a:lnTo>
                <a:lnTo>
                  <a:pt x="108966" y="1307465"/>
                </a:lnTo>
                <a:lnTo>
                  <a:pt x="100405" y="1300394"/>
                </a:lnTo>
                <a:lnTo>
                  <a:pt x="77057" y="1294622"/>
                </a:lnTo>
                <a:lnTo>
                  <a:pt x="42421" y="1290730"/>
                </a:lnTo>
                <a:lnTo>
                  <a:pt x="0" y="1289304"/>
                </a:lnTo>
                <a:lnTo>
                  <a:pt x="42421" y="1287877"/>
                </a:lnTo>
                <a:lnTo>
                  <a:pt x="77057" y="1283985"/>
                </a:lnTo>
                <a:lnTo>
                  <a:pt x="100405" y="1278213"/>
                </a:lnTo>
                <a:lnTo>
                  <a:pt x="108966" y="1271143"/>
                </a:lnTo>
                <a:lnTo>
                  <a:pt x="108966" y="18161"/>
                </a:lnTo>
                <a:lnTo>
                  <a:pt x="117526" y="11090"/>
                </a:lnTo>
                <a:lnTo>
                  <a:pt x="140874" y="5318"/>
                </a:lnTo>
                <a:lnTo>
                  <a:pt x="175510" y="1426"/>
                </a:lnTo>
                <a:lnTo>
                  <a:pt x="217932" y="0"/>
                </a:lnTo>
              </a:path>
            </a:pathLst>
          </a:custGeom>
          <a:ln w="12700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object 112">
            <a:extLst>
              <a:ext uri="{FF2B5EF4-FFF2-40B4-BE49-F238E27FC236}">
                <a16:creationId xmlns:a16="http://schemas.microsoft.com/office/drawing/2014/main" id="{417251BB-3F2A-A7EE-48A8-DE6CB0D75D83}"/>
              </a:ext>
            </a:extLst>
          </p:cNvPr>
          <p:cNvSpPr txBox="1"/>
          <p:nvPr/>
        </p:nvSpPr>
        <p:spPr>
          <a:xfrm>
            <a:off x="1507236" y="5969508"/>
            <a:ext cx="1223096" cy="260328"/>
          </a:xfrm>
          <a:prstGeom prst="rect">
            <a:avLst/>
          </a:prstGeom>
          <a:solidFill>
            <a:srgbClr val="FFFFFF"/>
          </a:solidFill>
          <a:ln w="12700">
            <a:solidFill>
              <a:srgbClr val="4471C4"/>
            </a:solidFill>
          </a:ln>
        </p:spPr>
        <p:txBody>
          <a:bodyPr vert="horz" wrap="square" lIns="0" tIns="44450" rIns="0" bIns="0" rtlCol="0" anchor="ctr">
            <a:spAutoFit/>
          </a:bodyPr>
          <a:lstStyle/>
          <a:p>
            <a:pPr marR="261620" algn="ctr">
              <a:lnSpc>
                <a:spcPct val="100000"/>
              </a:lnSpc>
              <a:spcBef>
                <a:spcPts val="0"/>
              </a:spcBef>
            </a:pPr>
            <a:r>
              <a:rPr lang="ru-RU" sz="7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ақаттар</a:t>
            </a:r>
            <a:r>
              <a:rPr lang="ru-RU" sz="7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7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дел</a:t>
            </a:r>
            <a:r>
              <a:rPr lang="ru-RU" sz="7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рулар</a:t>
            </a:r>
            <a:endParaRPr sz="7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object 36">
            <a:extLst>
              <a:ext uri="{FF2B5EF4-FFF2-40B4-BE49-F238E27FC236}">
                <a16:creationId xmlns:a16="http://schemas.microsoft.com/office/drawing/2014/main" id="{224507B9-1334-0DD8-400B-BC85AEDA5F7B}"/>
              </a:ext>
            </a:extLst>
          </p:cNvPr>
          <p:cNvSpPr txBox="1"/>
          <p:nvPr/>
        </p:nvSpPr>
        <p:spPr>
          <a:xfrm>
            <a:off x="1539830" y="4880907"/>
            <a:ext cx="1190618" cy="238527"/>
          </a:xfrm>
          <a:prstGeom prst="rect">
            <a:avLst/>
          </a:prstGeom>
          <a:solidFill>
            <a:srgbClr val="FFFFFF"/>
          </a:solidFill>
          <a:ln w="12700">
            <a:solidFill>
              <a:srgbClr val="4471C4"/>
            </a:solidFill>
          </a:ln>
        </p:spPr>
        <p:txBody>
          <a:bodyPr vert="horz" wrap="square" lIns="0" tIns="22860" rIns="0" bIns="0" rtlCol="0" anchor="ctr">
            <a:spAutoFit/>
          </a:bodyPr>
          <a:lstStyle/>
          <a:p>
            <a:pPr marR="261620" algn="ctr">
              <a:lnSpc>
                <a:spcPct val="100000"/>
              </a:lnSpc>
              <a:spcBef>
                <a:spcPts val="0"/>
              </a:spcBef>
            </a:pPr>
            <a:r>
              <a:rPr lang="ru-RU" sz="7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</a:t>
            </a:r>
            <a:r>
              <a:rPr lang="ru-RU" sz="7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7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7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sz="7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рулар</a:t>
            </a:r>
            <a:endParaRPr sz="7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object 40">
            <a:extLst>
              <a:ext uri="{FF2B5EF4-FFF2-40B4-BE49-F238E27FC236}">
                <a16:creationId xmlns:a16="http://schemas.microsoft.com/office/drawing/2014/main" id="{22B1ACDE-D215-F632-5720-8531D75BE1BE}"/>
              </a:ext>
            </a:extLst>
          </p:cNvPr>
          <p:cNvSpPr txBox="1"/>
          <p:nvPr/>
        </p:nvSpPr>
        <p:spPr>
          <a:xfrm>
            <a:off x="1516570" y="5641638"/>
            <a:ext cx="1213762" cy="286617"/>
          </a:xfrm>
          <a:prstGeom prst="rect">
            <a:avLst/>
          </a:prstGeom>
          <a:solidFill>
            <a:srgbClr val="FFFFFF"/>
          </a:solidFill>
          <a:ln w="12700">
            <a:solidFill>
              <a:srgbClr val="4471C4"/>
            </a:solidFill>
          </a:ln>
        </p:spPr>
        <p:txBody>
          <a:bodyPr vert="horz" wrap="square" lIns="0" tIns="45085" rIns="0" bIns="0" rtlCol="0" anchor="ctr">
            <a:spAutoFit/>
          </a:bodyPr>
          <a:lstStyle/>
          <a:p>
            <a:pPr marR="261620" algn="ctr">
              <a:spcBef>
                <a:spcPts val="0"/>
              </a:spcBef>
            </a:pPr>
            <a:r>
              <a:rPr lang="ru-RU" sz="7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ыр</a:t>
            </a:r>
            <a:r>
              <a:rPr lang="ru-RU" sz="7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sz="7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рулар</a:t>
            </a:r>
            <a:endParaRPr lang="ru-RU" sz="7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97510" marR="261620" algn="just">
              <a:lnSpc>
                <a:spcPct val="100000"/>
              </a:lnSpc>
              <a:spcBef>
                <a:spcPts val="180"/>
              </a:spcBef>
            </a:pPr>
            <a:endParaRPr lang="ru-RU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object 27">
            <a:extLst>
              <a:ext uri="{FF2B5EF4-FFF2-40B4-BE49-F238E27FC236}">
                <a16:creationId xmlns:a16="http://schemas.microsoft.com/office/drawing/2014/main" id="{7431B4C7-AE4C-3119-EE9A-F9E7EFC89B5F}"/>
              </a:ext>
            </a:extLst>
          </p:cNvPr>
          <p:cNvSpPr txBox="1"/>
          <p:nvPr/>
        </p:nvSpPr>
        <p:spPr>
          <a:xfrm>
            <a:off x="246989" y="582654"/>
            <a:ext cx="3410611" cy="795731"/>
          </a:xfrm>
          <a:prstGeom prst="rect">
            <a:avLst/>
          </a:prstGeom>
        </p:spPr>
        <p:txBody>
          <a:bodyPr vert="horz" wrap="square" lIns="0" tIns="137795" rIns="0" bIns="0" rtlCol="0">
            <a:spAutoFit/>
          </a:bodyPr>
          <a:lstStyle/>
          <a:p>
            <a:pPr marL="42545">
              <a:lnSpc>
                <a:spcPct val="100000"/>
              </a:lnSpc>
              <a:spcBef>
                <a:spcPts val="1085"/>
              </a:spcBef>
            </a:pPr>
            <a:r>
              <a:rPr lang="kk-KZ" sz="1200" dirty="0">
                <a:solidFill>
                  <a:srgbClr val="203B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ІР</a:t>
            </a:r>
            <a:endParaRPr sz="1200" dirty="0">
              <a:solidFill>
                <a:srgbClr val="203B7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ӨНДІРІСТІК ОБЪЕКТІЛЕРДІ ЕҢБЕК ЖАҒДАЙЛАРЫ БОЙЫНША АТТЕСТАТТАУ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C280E46-A051-A117-D863-F734CBFA6F6C}"/>
                  </a:ext>
                </a:extLst>
              </p:cNvPr>
              <p:cNvSpPr txBox="1"/>
              <p:nvPr/>
            </p:nvSpPr>
            <p:spPr>
              <a:xfrm>
                <a:off x="8879564" y="1943159"/>
                <a:ext cx="3261636" cy="36875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ru-KZ" sz="1200" b="1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К</m:t>
                    </m:r>
                    <m:r>
                      <a:rPr lang="ru-KZ" sz="1200" b="1" i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Т=</m:t>
                    </m:r>
                    <m:r>
                      <a:rPr lang="ru-KZ" sz="1200" b="1" i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𝟎</m:t>
                    </m:r>
                    <m:r>
                      <a:rPr lang="ru-KZ" sz="1200" b="1" i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ru-KZ" sz="1200" b="1" i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𝟕</m:t>
                    </m:r>
                    <m:r>
                      <a:rPr lang="ru-KZ" sz="1200" b="1" i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ru-KZ" sz="1200" b="1" i="1">
                            <a:solidFill>
                              <a:schemeClr val="accent1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ru-KZ" sz="1200" b="1" i="1">
                                <a:solidFill>
                                  <a:schemeClr val="accent1">
                                    <a:lumMod val="5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ru-KZ" sz="1200" b="1" i="0">
                                <a:solidFill>
                                  <a:schemeClr val="accent1">
                                    <a:lumMod val="5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З+Е</m:t>
                            </m:r>
                          </m:num>
                          <m:den>
                            <m:r>
                              <a:rPr lang="ru-KZ" sz="1200" b="1" i="0">
                                <a:solidFill>
                                  <a:schemeClr val="accent1">
                                    <a:lumMod val="5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𝟐</m:t>
                            </m:r>
                          </m:den>
                        </m:f>
                      </m:e>
                    </m:d>
                    <m:r>
                      <a:rPr lang="ru-KZ" sz="1200" b="1" i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a:rPr lang="ru-KZ" sz="1200" b="1" i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𝟎</m:t>
                    </m:r>
                    <m:r>
                      <a:rPr lang="ru-KZ" sz="1200" b="1" i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ru-KZ" sz="1200" b="1" i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𝟐</m:t>
                    </m:r>
                    <m:r>
                      <a:rPr lang="ru-KZ" sz="1200" b="1" i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×</m:t>
                    </m:r>
                    <m:d>
                      <m:dPr>
                        <m:ctrlPr>
                          <a:rPr lang="ru-KZ" sz="1200" b="1" i="1">
                            <a:solidFill>
                              <a:schemeClr val="accent1">
                                <a:lumMod val="5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ru-KZ" sz="1200" b="1" i="1">
                                <a:solidFill>
                                  <a:schemeClr val="accent1">
                                    <a:lumMod val="5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ru-KZ" sz="1200" b="1" i="0">
                                <a:solidFill>
                                  <a:schemeClr val="accent1">
                                    <a:lumMod val="5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Жб+ЖҚҚ</m:t>
                            </m:r>
                          </m:num>
                          <m:den>
                            <m:r>
                              <a:rPr lang="ru-KZ" sz="1200" b="1" i="0">
                                <a:solidFill>
                                  <a:schemeClr val="accent1">
                                    <a:lumMod val="5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𝟐</m:t>
                            </m:r>
                          </m:den>
                        </m:f>
                      </m:e>
                    </m:d>
                    <m:r>
                      <a:rPr lang="ru-KZ" sz="1200" b="1" i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a:rPr lang="ru-KZ" sz="1200" b="1" i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𝟎</m:t>
                    </m:r>
                    <m:r>
                      <a:rPr lang="ru-KZ" sz="1200" b="1" i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.</m:t>
                    </m:r>
                    <m:r>
                      <a:rPr lang="ru-KZ" sz="1200" b="1" i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𝟏</m:t>
                    </m:r>
                    <m:r>
                      <a:rPr lang="ru-KZ" sz="1200" b="1" i="0">
                        <a:solidFill>
                          <a:schemeClr val="accent1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×</m:t>
                    </m:r>
                  </m:oMath>
                </a14:m>
                <a:r>
                  <a:rPr lang="kk-KZ" sz="1200" b="1" dirty="0">
                    <a:solidFill>
                      <a:schemeClr val="accent1">
                        <a:lumMod val="50000"/>
                      </a:schemeClr>
                    </a:solidFill>
                  </a:rPr>
                  <a:t>С</a:t>
                </a:r>
                <a:endParaRPr lang="ru-KZ" sz="1200" b="1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C280E46-A051-A117-D863-F734CBFA6F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79564" y="1943159"/>
                <a:ext cx="3261636" cy="368755"/>
              </a:xfrm>
              <a:prstGeom prst="rect">
                <a:avLst/>
              </a:prstGeom>
              <a:blipFill>
                <a:blip r:embed="rId8"/>
                <a:stretch>
                  <a:fillRect b="-1667"/>
                </a:stretch>
              </a:blipFill>
            </p:spPr>
            <p:txBody>
              <a:bodyPr/>
              <a:lstStyle/>
              <a:p>
                <a:r>
                  <a:rPr lang="ru-KZ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255605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6">
            <a:extLst>
              <a:ext uri="{FF2B5EF4-FFF2-40B4-BE49-F238E27FC236}">
                <a16:creationId xmlns:a16="http://schemas.microsoft.com/office/drawing/2014/main" id="{599E300F-7F61-B217-7BC6-1150A2818F0C}"/>
              </a:ext>
            </a:extLst>
          </p:cNvPr>
          <p:cNvSpPr/>
          <p:nvPr/>
        </p:nvSpPr>
        <p:spPr>
          <a:xfrm>
            <a:off x="74613" y="1158930"/>
            <a:ext cx="4802187" cy="5319657"/>
          </a:xfrm>
          <a:prstGeom prst="homePlate">
            <a:avLst>
              <a:gd name="adj" fmla="val 13243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12000" rIns="0" bIns="0"/>
          <a:lstStyle/>
          <a:p>
            <a:pPr algn="ctr" defTabSz="914324">
              <a:defRPr/>
            </a:pPr>
            <a:endParaRPr lang="en-US" sz="14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4922508" y="1125973"/>
            <a:ext cx="7213600" cy="5420083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196" name="TextBox 4">
            <a:extLst>
              <a:ext uri="{FF2B5EF4-FFF2-40B4-BE49-F238E27FC236}">
                <a16:creationId xmlns:a16="http://schemas.microsoft.com/office/drawing/2014/main" id="{A57C0990-148B-801D-3F57-F153320B78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3229" y="244475"/>
            <a:ext cx="12192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ТІ ҚОРҒАУДЫҢ ЖАҢА ИДЕОЛОГИЯСЫ:  </a:t>
            </a:r>
            <a:r>
              <a:rPr lang="ru-RU" altLang="ru-RU" sz="1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ежесі</a:t>
            </a: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ҚҚ </a:t>
            </a:r>
            <a:r>
              <a:rPr lang="ru-RU" altLang="ru-RU" sz="1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ңдау</a:t>
            </a:r>
            <a:endParaRPr lang="ru-RU" altLang="ru-RU" sz="1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3" name="Прямая соединительная линия 92">
            <a:extLst>
              <a:ext uri="{FF2B5EF4-FFF2-40B4-BE49-F238E27FC236}">
                <a16:creationId xmlns:a16="http://schemas.microsoft.com/office/drawing/2014/main" id="{F577F682-A37F-7959-2A3D-692172888213}"/>
              </a:ext>
            </a:extLst>
          </p:cNvPr>
          <p:cNvCxnSpPr>
            <a:cxnSpLocks/>
          </p:cNvCxnSpPr>
          <p:nvPr/>
        </p:nvCxnSpPr>
        <p:spPr>
          <a:xfrm>
            <a:off x="147638" y="620713"/>
            <a:ext cx="115617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88E1BEE-B7EC-9B15-A52B-E796B35EE47A}"/>
              </a:ext>
            </a:extLst>
          </p:cNvPr>
          <p:cNvSpPr/>
          <p:nvPr/>
        </p:nvSpPr>
        <p:spPr>
          <a:xfrm>
            <a:off x="8714116" y="4743847"/>
            <a:ext cx="2806700" cy="4984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құлақша</a:t>
            </a:r>
            <a:endParaRPr lang="ru-RU" altLang="ru-RU" sz="1050" b="1" dirty="0">
              <a:solidFill>
                <a:schemeClr val="tx1"/>
              </a:solidFill>
              <a:latin typeface="Arial" panose="020B0604020202020204" pitchFamily="34" charset="0"/>
              <a:ea typeface="Calibri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65619E27-9E19-4F00-7F8D-C30E6A333C8F}"/>
              </a:ext>
            </a:extLst>
          </p:cNvPr>
          <p:cNvSpPr/>
          <p:nvPr/>
        </p:nvSpPr>
        <p:spPr>
          <a:xfrm>
            <a:off x="8714116" y="3997722"/>
            <a:ext cx="2806700" cy="4984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шуға</a:t>
            </a:r>
            <a:r>
              <a:rPr lang="ru-RU" altLang="ru-RU" sz="1050" b="1" dirty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ru-RU" altLang="ru-RU" sz="1050" b="1" dirty="0" err="1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қарсы</a:t>
            </a:r>
            <a:r>
              <a:rPr lang="ru-RU" altLang="ru-RU" sz="1050" b="1" dirty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ru-RU" altLang="ru-RU" sz="1050" b="1" dirty="0" err="1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құлаққаптар</a:t>
            </a:r>
            <a:endParaRPr lang="ru-RU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099BF19D-6CC2-BA2A-68E1-84355C18292E}"/>
              </a:ext>
            </a:extLst>
          </p:cNvPr>
          <p:cNvSpPr/>
          <p:nvPr/>
        </p:nvSpPr>
        <p:spPr>
          <a:xfrm>
            <a:off x="8714116" y="3281760"/>
            <a:ext cx="2806700" cy="490537"/>
          </a:xfrm>
          <a:prstGeom prst="rect">
            <a:avLst/>
          </a:prstGeom>
          <a:solidFill>
            <a:srgbClr val="FF7C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шуға</a:t>
            </a:r>
            <a:r>
              <a:rPr lang="ru-RU" altLang="ru-RU" sz="1050" b="1" dirty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ru-RU" altLang="ru-RU" sz="1050" b="1" dirty="0" err="1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қарсы</a:t>
            </a:r>
            <a:r>
              <a:rPr lang="ru-RU" altLang="ru-RU" sz="1050" b="1" dirty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 </a:t>
            </a:r>
            <a:r>
              <a:rPr lang="ru-RU" altLang="ru-RU" sz="1050" b="1" dirty="0" err="1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құлаққаптар</a:t>
            </a:r>
            <a:endParaRPr lang="ru-RU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A58BAC5E-4052-116A-9888-DD890B57A6F8}"/>
              </a:ext>
            </a:extLst>
          </p:cNvPr>
          <p:cNvSpPr/>
          <p:nvPr/>
        </p:nvSpPr>
        <p:spPr>
          <a:xfrm>
            <a:off x="8715704" y="2435622"/>
            <a:ext cx="2806700" cy="50006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05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сенді</a:t>
            </a:r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уды</a:t>
            </a:r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дырмайтын</a:t>
            </a:r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лаққаптар</a:t>
            </a:r>
            <a:endParaRPr lang="ru-RU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0">
            <a:extLst>
              <a:ext uri="{FF2B5EF4-FFF2-40B4-BE49-F238E27FC236}">
                <a16:creationId xmlns:a16="http://schemas.microsoft.com/office/drawing/2014/main" id="{ADA8453D-56F0-1E35-FF71-FC7908FF54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55229" y="1778397"/>
            <a:ext cx="3838575" cy="3079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ru-RU" altLang="x-none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altLang="x-none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ШУ</a:t>
            </a:r>
          </a:p>
        </p:txBody>
      </p:sp>
      <p:sp>
        <p:nvSpPr>
          <p:cNvPr id="8203" name="TextBox 61">
            <a:extLst>
              <a:ext uri="{FF2B5EF4-FFF2-40B4-BE49-F238E27FC236}">
                <a16:creationId xmlns:a16="http://schemas.microsoft.com/office/drawing/2014/main" id="{1B8BF00C-0013-4EBD-BDDF-153C12D4CE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9525" y="1368822"/>
            <a:ext cx="661987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ТӘУЕКЕЛ ДӘРЕЖЕСІН ЕСКЕРЕ ОТЫРЫП, ӘРБІР ЗИЯНДЫ НЕМЕСЕ ҚАУІПТІ ӨНДІРІСТІК ФАКТОР БОЙЫНША ЖҚҚ САРАЛАП ТАҢДАУ</a:t>
            </a:r>
          </a:p>
        </p:txBody>
      </p:sp>
      <p:sp>
        <p:nvSpPr>
          <p:cNvPr id="8204" name="Номер слайда 8">
            <a:extLst>
              <a:ext uri="{FF2B5EF4-FFF2-40B4-BE49-F238E27FC236}">
                <a16:creationId xmlns:a16="http://schemas.microsoft.com/office/drawing/2014/main" id="{C3021F75-CB68-3A7D-59D6-F2A85AAC289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9420225" y="6478588"/>
            <a:ext cx="27432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04268611-12E6-4ABD-884A-B15BC34273C1}" type="slidenum">
              <a:rPr lang="ru-RU" altLang="ru-RU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5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grpSp>
        <p:nvGrpSpPr>
          <p:cNvPr id="7186" name="Группа 7185">
            <a:extLst>
              <a:ext uri="{FF2B5EF4-FFF2-40B4-BE49-F238E27FC236}">
                <a16:creationId xmlns:a16="http://schemas.microsoft.com/office/drawing/2014/main" id="{F22C6652-4B62-6401-D2B1-2A5FF6272A59}"/>
              </a:ext>
            </a:extLst>
          </p:cNvPr>
          <p:cNvGrpSpPr/>
          <p:nvPr/>
        </p:nvGrpSpPr>
        <p:grpSpPr bwMode="auto">
          <a:xfrm rot="10800000" flipH="1">
            <a:off x="8414391" y="3014263"/>
            <a:ext cx="192687" cy="1321417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7187" name="Шеврон 20">
              <a:extLst>
                <a:ext uri="{FF2B5EF4-FFF2-40B4-BE49-F238E27FC236}">
                  <a16:creationId xmlns:a16="http://schemas.microsoft.com/office/drawing/2014/main" id="{870EC56E-9E3E-356F-0368-EF19131E4659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7197" name="Шеврон 71">
              <a:extLst>
                <a:ext uri="{FF2B5EF4-FFF2-40B4-BE49-F238E27FC236}">
                  <a16:creationId xmlns:a16="http://schemas.microsoft.com/office/drawing/2014/main" id="{8DABF744-EA05-6F78-6F2B-E267036E99E4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7198" name="Равнобедренный треугольник 7197">
            <a:extLst>
              <a:ext uri="{FF2B5EF4-FFF2-40B4-BE49-F238E27FC236}">
                <a16:creationId xmlns:a16="http://schemas.microsoft.com/office/drawing/2014/main" id="{23AF1409-E5E4-D84A-B23A-DD7E6B4C7F96}"/>
              </a:ext>
            </a:extLst>
          </p:cNvPr>
          <p:cNvSpPr/>
          <p:nvPr/>
        </p:nvSpPr>
        <p:spPr>
          <a:xfrm rot="10800000">
            <a:off x="8304541" y="2130822"/>
            <a:ext cx="2138363" cy="119063"/>
          </a:xfrm>
          <a:prstGeom prst="triangle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x-none" dirty="0"/>
          </a:p>
        </p:txBody>
      </p:sp>
      <p:sp>
        <p:nvSpPr>
          <p:cNvPr id="8207" name="TextBox 99">
            <a:extLst>
              <a:ext uri="{FF2B5EF4-FFF2-40B4-BE49-F238E27FC236}">
                <a16:creationId xmlns:a16="http://schemas.microsoft.com/office/drawing/2014/main" id="{C627CB12-4EB4-E53F-6C1D-BAB0C96836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58404" y="4062810"/>
            <a:ext cx="703262" cy="369887"/>
          </a:xfrm>
          <a:prstGeom prst="rect">
            <a:avLst/>
          </a:prstGeom>
          <a:solidFill>
            <a:srgbClr val="FFD9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С</a:t>
            </a:r>
          </a:p>
        </p:txBody>
      </p:sp>
      <p:sp>
        <p:nvSpPr>
          <p:cNvPr id="8208" name="TextBox 100">
            <a:extLst>
              <a:ext uri="{FF2B5EF4-FFF2-40B4-BE49-F238E27FC236}">
                <a16:creationId xmlns:a16="http://schemas.microsoft.com/office/drawing/2014/main" id="{519CE058-0E89-86B9-DFD0-E757F04528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7454" y="4794647"/>
            <a:ext cx="704850" cy="368300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/>
              <a:t>D</a:t>
            </a:r>
            <a:endParaRPr lang="ru-RU" altLang="ru-RU" sz="1800" b="1"/>
          </a:p>
        </p:txBody>
      </p:sp>
      <p:sp>
        <p:nvSpPr>
          <p:cNvPr id="8209" name="TextBox 101">
            <a:extLst>
              <a:ext uri="{FF2B5EF4-FFF2-40B4-BE49-F238E27FC236}">
                <a16:creationId xmlns:a16="http://schemas.microsoft.com/office/drawing/2014/main" id="{D4A20E0C-D241-FCA4-D4C5-4A4F578E49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47291" y="3324622"/>
            <a:ext cx="704850" cy="368300"/>
          </a:xfrm>
          <a:prstGeom prst="rect">
            <a:avLst/>
          </a:prstGeom>
          <a:solidFill>
            <a:srgbClr val="FF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В</a:t>
            </a:r>
          </a:p>
        </p:txBody>
      </p:sp>
      <p:sp>
        <p:nvSpPr>
          <p:cNvPr id="8210" name="TextBox 103">
            <a:extLst>
              <a:ext uri="{FF2B5EF4-FFF2-40B4-BE49-F238E27FC236}">
                <a16:creationId xmlns:a16="http://schemas.microsoft.com/office/drawing/2014/main" id="{E15254A8-C471-E666-4E76-38DB684000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39354" y="2480072"/>
            <a:ext cx="704850" cy="369888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>
                <a:solidFill>
                  <a:schemeClr val="bg1"/>
                </a:solidFill>
              </a:rPr>
              <a:t>A</a:t>
            </a:r>
            <a:endParaRPr lang="ru-RU" altLang="ru-RU" sz="1800" b="1">
              <a:solidFill>
                <a:schemeClr val="bg1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7A0E94C3-E1BC-768C-0676-0CA1D666D28A}"/>
              </a:ext>
            </a:extLst>
          </p:cNvPr>
          <p:cNvSpPr txBox="1"/>
          <p:nvPr/>
        </p:nvSpPr>
        <p:spPr>
          <a:xfrm>
            <a:off x="7244091" y="2880122"/>
            <a:ext cx="1093788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ды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ныс</a:t>
            </a:r>
            <a:endParaRPr lang="ru-RU" sz="9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3B765EF-7E5B-64CA-239F-80D8B8346584}"/>
              </a:ext>
            </a:extLst>
          </p:cNvPr>
          <p:cNvSpPr txBox="1"/>
          <p:nvPr/>
        </p:nvSpPr>
        <p:spPr>
          <a:xfrm>
            <a:off x="7317116" y="5142310"/>
            <a:ext cx="102076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ды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ныс</a:t>
            </a:r>
            <a:endParaRPr lang="ru-RU" sz="9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148F627-9DC3-CA9B-3279-857817E62264}"/>
              </a:ext>
            </a:extLst>
          </p:cNvPr>
          <p:cNvSpPr txBox="1"/>
          <p:nvPr/>
        </p:nvSpPr>
        <p:spPr>
          <a:xfrm>
            <a:off x="7413954" y="4396185"/>
            <a:ext cx="820737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ныс</a:t>
            </a:r>
            <a:endParaRPr lang="ru-RU" sz="9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2984FFD2-8611-FCB8-F309-D1EC0D89A987}"/>
              </a:ext>
            </a:extLst>
          </p:cNvPr>
          <p:cNvSpPr txBox="1"/>
          <p:nvPr/>
        </p:nvSpPr>
        <p:spPr>
          <a:xfrm>
            <a:off x="7383791" y="3669110"/>
            <a:ext cx="81915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ныс</a:t>
            </a:r>
            <a:endParaRPr lang="ru-RU" sz="9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3" name="Группа 102">
            <a:extLst>
              <a:ext uri="{FF2B5EF4-FFF2-40B4-BE49-F238E27FC236}">
                <a16:creationId xmlns:a16="http://schemas.microsoft.com/office/drawing/2014/main" id="{94992983-0A9D-8FD4-7747-B0AE2E49F060}"/>
              </a:ext>
            </a:extLst>
          </p:cNvPr>
          <p:cNvGrpSpPr/>
          <p:nvPr/>
        </p:nvGrpSpPr>
        <p:grpSpPr bwMode="auto">
          <a:xfrm rot="10800000" flipH="1">
            <a:off x="6763631" y="3244338"/>
            <a:ext cx="235937" cy="2345950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104" name="Шеврон 20">
              <a:extLst>
                <a:ext uri="{FF2B5EF4-FFF2-40B4-BE49-F238E27FC236}">
                  <a16:creationId xmlns:a16="http://schemas.microsoft.com/office/drawing/2014/main" id="{23FC5653-140A-48EA-AB3B-CE70CA9704D5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05" name="Шеврон 71">
              <a:extLst>
                <a:ext uri="{FF2B5EF4-FFF2-40B4-BE49-F238E27FC236}">
                  <a16:creationId xmlns:a16="http://schemas.microsoft.com/office/drawing/2014/main" id="{2636C54F-DF04-1505-C40B-415FBAF7E9D8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8216" name="TextBox 61">
            <a:extLst>
              <a:ext uri="{FF2B5EF4-FFF2-40B4-BE49-F238E27FC236}">
                <a16:creationId xmlns:a16="http://schemas.microsoft.com/office/drawing/2014/main" id="{F289C22B-315F-67D7-0A84-F38B54931C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613" y="701802"/>
            <a:ext cx="28622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ІР</a:t>
            </a:r>
          </a:p>
        </p:txBody>
      </p:sp>
      <p:sp>
        <p:nvSpPr>
          <p:cNvPr id="8217" name="TextBox 61">
            <a:extLst>
              <a:ext uri="{FF2B5EF4-FFF2-40B4-BE49-F238E27FC236}">
                <a16:creationId xmlns:a16="http://schemas.microsoft.com/office/drawing/2014/main" id="{353C7217-8C99-B909-5CB9-153AC11F13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2266" y="810319"/>
            <a:ext cx="28606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Й БОЛАДЫ</a:t>
            </a:r>
          </a:p>
        </p:txBody>
      </p:sp>
      <p:sp>
        <p:nvSpPr>
          <p:cNvPr id="117" name="Стрелка вправо 116">
            <a:extLst>
              <a:ext uri="{FF2B5EF4-FFF2-40B4-BE49-F238E27FC236}">
                <a16:creationId xmlns:a16="http://schemas.microsoft.com/office/drawing/2014/main" id="{B2B64D21-B831-740F-4E95-DC12D06D571A}"/>
              </a:ext>
            </a:extLst>
          </p:cNvPr>
          <p:cNvSpPr/>
          <p:nvPr/>
        </p:nvSpPr>
        <p:spPr>
          <a:xfrm rot="16200000">
            <a:off x="5762160" y="3887391"/>
            <a:ext cx="2767012" cy="139700"/>
          </a:xfrm>
          <a:prstGeom prst="rightArrow">
            <a:avLst>
              <a:gd name="adj1" fmla="val 50000"/>
              <a:gd name="adj2" fmla="val 147731"/>
            </a:avLst>
          </a:prstGeom>
          <a:gradFill flip="none" rotWithShape="1">
            <a:gsLst>
              <a:gs pos="0">
                <a:srgbClr val="C00000"/>
              </a:gs>
              <a:gs pos="22000">
                <a:schemeClr val="accent2">
                  <a:lumMod val="75000"/>
                </a:schemeClr>
              </a:gs>
              <a:gs pos="97688">
                <a:schemeClr val="accent6">
                  <a:lumMod val="60000"/>
                  <a:lumOff val="4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8ED07D42-0193-0EBB-8D9A-611783EE123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052014"/>
              </p:ext>
            </p:extLst>
          </p:nvPr>
        </p:nvGraphicFramePr>
        <p:xfrm>
          <a:off x="289003" y="2308991"/>
          <a:ext cx="3792428" cy="2831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220" name="TextBox 61">
            <a:extLst>
              <a:ext uri="{FF2B5EF4-FFF2-40B4-BE49-F238E27FC236}">
                <a16:creationId xmlns:a16="http://schemas.microsoft.com/office/drawing/2014/main" id="{3C1108C6-5AAD-A8D0-E267-240E2F9900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7638" y="1416362"/>
            <a:ext cx="36068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БІРЫҢҒАЙ САЛА АРАЛЫҚ ТӘСІЛДЕР – САЛАЛАР БОЙЫНША ӘР КӘСІП ЖҚҚ САЙЫСТЫ</a:t>
            </a:r>
          </a:p>
        </p:txBody>
      </p:sp>
      <p:sp>
        <p:nvSpPr>
          <p:cNvPr id="8221" name="TextBox 1">
            <a:extLst>
              <a:ext uri="{FF2B5EF4-FFF2-40B4-BE49-F238E27FC236}">
                <a16:creationId xmlns:a16="http://schemas.microsoft.com/office/drawing/2014/main" id="{5D785A0A-F482-4177-CCA5-C973D03F4B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96241" y="5734447"/>
            <a:ext cx="1189038" cy="446276"/>
          </a:xfrm>
          <a:prstGeom prst="rect">
            <a:avLst/>
          </a:prstGeom>
          <a:solidFill>
            <a:srgbClr val="2E75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1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8222" name="TextBox 57">
            <a:extLst>
              <a:ext uri="{FF2B5EF4-FFF2-40B4-BE49-F238E27FC236}">
                <a16:creationId xmlns:a16="http://schemas.microsoft.com/office/drawing/2014/main" id="{947F54F2-1450-5044-CCFB-5DEBD9A979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12116" y="4845447"/>
            <a:ext cx="1189038" cy="446276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2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8223" name="TextBox 58">
            <a:extLst>
              <a:ext uri="{FF2B5EF4-FFF2-40B4-BE49-F238E27FC236}">
                <a16:creationId xmlns:a16="http://schemas.microsoft.com/office/drawing/2014/main" id="{78B19E5F-9B49-250B-972A-A159CAD102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18466" y="4086622"/>
            <a:ext cx="1189038" cy="447675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3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r>
              <a:rPr lang="ru-RU" altLang="ru-RU" sz="1100" b="1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8224" name="TextBox 59">
            <a:extLst>
              <a:ext uri="{FF2B5EF4-FFF2-40B4-BE49-F238E27FC236}">
                <a16:creationId xmlns:a16="http://schemas.microsoft.com/office/drawing/2014/main" id="{F1B8CC58-814B-AB58-C9B3-3D988402F9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94654" y="3164285"/>
            <a:ext cx="1187450" cy="461962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4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8225" name="TextBox 67">
            <a:extLst>
              <a:ext uri="{FF2B5EF4-FFF2-40B4-BE49-F238E27FC236}">
                <a16:creationId xmlns:a16="http://schemas.microsoft.com/office/drawing/2014/main" id="{264D247D-6DF2-43D6-CE92-22F4DF8584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85129" y="2384822"/>
            <a:ext cx="1189037" cy="446088"/>
          </a:xfrm>
          <a:prstGeom prst="rect">
            <a:avLst/>
          </a:prstGeom>
          <a:solidFill>
            <a:srgbClr val="779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5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8226" name="TextBox 81">
            <a:extLst>
              <a:ext uri="{FF2B5EF4-FFF2-40B4-BE49-F238E27FC236}">
                <a16:creationId xmlns:a16="http://schemas.microsoft.com/office/drawing/2014/main" id="{E787A4F5-4704-1200-93CF-ED14B7F1FC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70854" y="6337697"/>
            <a:ext cx="111125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ұқсат</a:t>
            </a: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ілген</a:t>
            </a:r>
            <a:endParaRPr lang="ru-RU" altLang="ru-RU" sz="9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27" name="TextBox 82">
            <a:extLst>
              <a:ext uri="{FF2B5EF4-FFF2-40B4-BE49-F238E27FC236}">
                <a16:creationId xmlns:a16="http://schemas.microsoft.com/office/drawing/2014/main" id="{C90CDAB5-806A-5BC9-FED2-5463793A3C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02629" y="5428060"/>
            <a:ext cx="5921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</a:t>
            </a: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228" name="TextBox 83">
            <a:extLst>
              <a:ext uri="{FF2B5EF4-FFF2-40B4-BE49-F238E27FC236}">
                <a16:creationId xmlns:a16="http://schemas.microsoft.com/office/drawing/2014/main" id="{55DDD030-CAAB-37B7-D9B3-B841B12E46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35954" y="4496197"/>
            <a:ext cx="7239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229" name="TextBox 84">
            <a:extLst>
              <a:ext uri="{FF2B5EF4-FFF2-40B4-BE49-F238E27FC236}">
                <a16:creationId xmlns:a16="http://schemas.microsoft.com/office/drawing/2014/main" id="{70C465A6-C842-C78D-71D6-565171F356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20079" y="3575447"/>
            <a:ext cx="7143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endParaRPr lang="ru-RU" altLang="ru-RU" sz="9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30" name="TextBox 85">
            <a:extLst>
              <a:ext uri="{FF2B5EF4-FFF2-40B4-BE49-F238E27FC236}">
                <a16:creationId xmlns:a16="http://schemas.microsoft.com/office/drawing/2014/main" id="{0286E072-F474-C17C-8428-7E48DCD7B0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85129" y="2824560"/>
            <a:ext cx="11715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е</a:t>
            </a: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endParaRPr lang="ru-RU" altLang="ru-RU" sz="9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6">
            <a:extLst>
              <a:ext uri="{FF2B5EF4-FFF2-40B4-BE49-F238E27FC236}">
                <a16:creationId xmlns:a16="http://schemas.microsoft.com/office/drawing/2014/main" id="{7B2A6095-8FEE-02BB-CACF-2E11AC7AFDBF}"/>
              </a:ext>
            </a:extLst>
          </p:cNvPr>
          <p:cNvSpPr/>
          <p:nvPr/>
        </p:nvSpPr>
        <p:spPr>
          <a:xfrm>
            <a:off x="74613" y="1121434"/>
            <a:ext cx="4672012" cy="5366679"/>
          </a:xfrm>
          <a:prstGeom prst="homePlate">
            <a:avLst>
              <a:gd name="adj" fmla="val 13243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12000" rIns="0" bIns="0"/>
          <a:lstStyle/>
          <a:p>
            <a:pPr algn="ctr" defTabSz="914324">
              <a:defRPr/>
            </a:pPr>
            <a:endParaRPr lang="en-US" sz="14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AD4314D6-D0CC-4F5C-02E0-2C165F4D7E91}"/>
              </a:ext>
            </a:extLst>
          </p:cNvPr>
          <p:cNvSpPr/>
          <p:nvPr/>
        </p:nvSpPr>
        <p:spPr>
          <a:xfrm>
            <a:off x="4927600" y="1121434"/>
            <a:ext cx="7005638" cy="5366678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93" name="Прямая соединительная линия 92">
            <a:extLst>
              <a:ext uri="{FF2B5EF4-FFF2-40B4-BE49-F238E27FC236}">
                <a16:creationId xmlns:a16="http://schemas.microsoft.com/office/drawing/2014/main" id="{66A73B67-649C-B555-EDB7-7BFB5E6AA006}"/>
              </a:ext>
            </a:extLst>
          </p:cNvPr>
          <p:cNvCxnSpPr>
            <a:cxnSpLocks/>
          </p:cNvCxnSpPr>
          <p:nvPr/>
        </p:nvCxnSpPr>
        <p:spPr>
          <a:xfrm>
            <a:off x="148088" y="621851"/>
            <a:ext cx="115617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F3FC1A7-CB42-4E3F-26DC-179172BC43AE}"/>
              </a:ext>
            </a:extLst>
          </p:cNvPr>
          <p:cNvSpPr/>
          <p:nvPr/>
        </p:nvSpPr>
        <p:spPr>
          <a:xfrm>
            <a:off x="8451850" y="4552950"/>
            <a:ext cx="754063" cy="4968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ts val="0"/>
              </a:spcAft>
              <a:defRPr/>
            </a:pPr>
            <a:r>
              <a:rPr lang="ru-RU" altLang="ru-RU" sz="1050" b="1" dirty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1,2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0D5FCB20-73A5-94AF-AD30-12F46439FE74}"/>
              </a:ext>
            </a:extLst>
          </p:cNvPr>
          <p:cNvSpPr/>
          <p:nvPr/>
        </p:nvSpPr>
        <p:spPr>
          <a:xfrm>
            <a:off x="8451850" y="3806825"/>
            <a:ext cx="754063" cy="4984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ts val="0"/>
              </a:spcAft>
              <a:defRPr/>
            </a:pPr>
            <a:r>
              <a:rPr lang="ru-RU" altLang="ru-RU" sz="1050" b="1" dirty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1,3</a:t>
            </a:r>
            <a:endParaRPr lang="ru-RU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A23E341C-D319-3E65-D349-17DDBC65FEFC}"/>
              </a:ext>
            </a:extLst>
          </p:cNvPr>
          <p:cNvSpPr/>
          <p:nvPr/>
        </p:nvSpPr>
        <p:spPr>
          <a:xfrm>
            <a:off x="8451850" y="3090863"/>
            <a:ext cx="754063" cy="490537"/>
          </a:xfrm>
          <a:prstGeom prst="rect">
            <a:avLst/>
          </a:prstGeom>
          <a:solidFill>
            <a:srgbClr val="FF7C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ts val="0"/>
              </a:spcAft>
              <a:defRPr/>
            </a:pPr>
            <a:r>
              <a:rPr lang="ru-RU" altLang="ru-RU" sz="1050" b="1" dirty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1,4</a:t>
            </a:r>
            <a:endParaRPr lang="ru-RU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70BC82D8-E1E3-1CFF-0935-D67C3C813DA4}"/>
              </a:ext>
            </a:extLst>
          </p:cNvPr>
          <p:cNvSpPr/>
          <p:nvPr/>
        </p:nvSpPr>
        <p:spPr>
          <a:xfrm>
            <a:off x="8455025" y="2244725"/>
            <a:ext cx="750888" cy="50006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5</a:t>
            </a:r>
          </a:p>
        </p:txBody>
      </p:sp>
      <p:sp>
        <p:nvSpPr>
          <p:cNvPr id="29" name="TextBox 20">
            <a:extLst>
              <a:ext uri="{FF2B5EF4-FFF2-40B4-BE49-F238E27FC236}">
                <a16:creationId xmlns:a16="http://schemas.microsoft.com/office/drawing/2014/main" id="{9EF1D78F-DC72-E779-DA32-2C1ABDB26C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02463" y="1666875"/>
            <a:ext cx="2195512" cy="2619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ru-RU" altLang="x-none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зету</a:t>
            </a:r>
            <a:r>
              <a:rPr lang="ru-RU" altLang="x-none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x-none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эффициенті</a:t>
            </a:r>
            <a:endParaRPr lang="ru-RU" altLang="x-none" sz="105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25" name="TextBox 61">
            <a:extLst>
              <a:ext uri="{FF2B5EF4-FFF2-40B4-BE49-F238E27FC236}">
                <a16:creationId xmlns:a16="http://schemas.microsoft.com/office/drawing/2014/main" id="{B3325B06-C168-6D5F-22A7-34FADF03E4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83163" y="1197769"/>
            <a:ext cx="4584700" cy="4159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КӘСІПТІК ТӘУЕКЕЛ ДӘРЕЖЕСІНЕ БАЙЛАНЫСТЫ САРАЛАНҒАН САҚТАНДЫРУ ТАРИФІ</a:t>
            </a:r>
          </a:p>
        </p:txBody>
      </p:sp>
      <p:sp>
        <p:nvSpPr>
          <p:cNvPr id="9228" name="Номер слайда 8">
            <a:extLst>
              <a:ext uri="{FF2B5EF4-FFF2-40B4-BE49-F238E27FC236}">
                <a16:creationId xmlns:a16="http://schemas.microsoft.com/office/drawing/2014/main" id="{5FB22B84-CFEA-C09B-FAF6-9DB24D32A2B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9420225" y="6478588"/>
            <a:ext cx="27432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2F079E8E-F3F1-43E2-8B13-A434DC4F3AD3}" type="slidenum">
              <a:rPr lang="ru-RU" altLang="ru-RU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6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grpSp>
        <p:nvGrpSpPr>
          <p:cNvPr id="7186" name="Группа 7185">
            <a:extLst>
              <a:ext uri="{FF2B5EF4-FFF2-40B4-BE49-F238E27FC236}">
                <a16:creationId xmlns:a16="http://schemas.microsoft.com/office/drawing/2014/main" id="{F2E1DFE6-1175-D5DF-ED35-DE36D07C6AFF}"/>
              </a:ext>
            </a:extLst>
          </p:cNvPr>
          <p:cNvGrpSpPr/>
          <p:nvPr/>
        </p:nvGrpSpPr>
        <p:grpSpPr bwMode="auto">
          <a:xfrm rot="10800000" flipH="1">
            <a:off x="8135279" y="3070045"/>
            <a:ext cx="192687" cy="1321417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7187" name="Шеврон 20">
              <a:extLst>
                <a:ext uri="{FF2B5EF4-FFF2-40B4-BE49-F238E27FC236}">
                  <a16:creationId xmlns:a16="http://schemas.microsoft.com/office/drawing/2014/main" id="{69B212D6-34C1-F2BB-12BC-545A7D861174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7197" name="Шеврон 71">
              <a:extLst>
                <a:ext uri="{FF2B5EF4-FFF2-40B4-BE49-F238E27FC236}">
                  <a16:creationId xmlns:a16="http://schemas.microsoft.com/office/drawing/2014/main" id="{753764EA-357E-30DC-F513-DD7B56A7591C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7198" name="Равнобедренный треугольник 7197">
            <a:extLst>
              <a:ext uri="{FF2B5EF4-FFF2-40B4-BE49-F238E27FC236}">
                <a16:creationId xmlns:a16="http://schemas.microsoft.com/office/drawing/2014/main" id="{4850E8C4-F8F6-3C19-5FCA-CC367798E03B}"/>
              </a:ext>
            </a:extLst>
          </p:cNvPr>
          <p:cNvSpPr/>
          <p:nvPr/>
        </p:nvSpPr>
        <p:spPr>
          <a:xfrm rot="10800000">
            <a:off x="7058025" y="1951038"/>
            <a:ext cx="2138363" cy="119062"/>
          </a:xfrm>
          <a:prstGeom prst="triangle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x-none" dirty="0"/>
          </a:p>
        </p:txBody>
      </p:sp>
      <p:sp>
        <p:nvSpPr>
          <p:cNvPr id="9231" name="TextBox 1">
            <a:extLst>
              <a:ext uri="{FF2B5EF4-FFF2-40B4-BE49-F238E27FC236}">
                <a16:creationId xmlns:a16="http://schemas.microsoft.com/office/drawing/2014/main" id="{2562625B-8EB5-E112-F9F8-11DF6BAD5E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92700" y="5565775"/>
            <a:ext cx="1187450" cy="446276"/>
          </a:xfrm>
          <a:prstGeom prst="rect">
            <a:avLst/>
          </a:prstGeom>
          <a:solidFill>
            <a:srgbClr val="2E75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1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9232" name="TextBox 57">
            <a:extLst>
              <a:ext uri="{FF2B5EF4-FFF2-40B4-BE49-F238E27FC236}">
                <a16:creationId xmlns:a16="http://schemas.microsoft.com/office/drawing/2014/main" id="{38DA492B-6D42-6539-25D2-78ADA26CC5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08575" y="4678363"/>
            <a:ext cx="1187450" cy="446276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2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9233" name="TextBox 58">
            <a:extLst>
              <a:ext uri="{FF2B5EF4-FFF2-40B4-BE49-F238E27FC236}">
                <a16:creationId xmlns:a16="http://schemas.microsoft.com/office/drawing/2014/main" id="{E792FE42-2C7E-631E-1E28-427A0E0A15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4925" y="3919538"/>
            <a:ext cx="1187450" cy="446087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3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9234" name="TextBox 59">
            <a:extLst>
              <a:ext uri="{FF2B5EF4-FFF2-40B4-BE49-F238E27FC236}">
                <a16:creationId xmlns:a16="http://schemas.microsoft.com/office/drawing/2014/main" id="{50CE72F6-A6AD-0B7B-80D0-47D1056944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9525" y="2997200"/>
            <a:ext cx="1189038" cy="460375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4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9235" name="TextBox 67">
            <a:extLst>
              <a:ext uri="{FF2B5EF4-FFF2-40B4-BE49-F238E27FC236}">
                <a16:creationId xmlns:a16="http://schemas.microsoft.com/office/drawing/2014/main" id="{D180936B-F816-7BF8-9A53-1D48E228CB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1588" y="2217738"/>
            <a:ext cx="1187450" cy="446087"/>
          </a:xfrm>
          <a:prstGeom prst="rect">
            <a:avLst/>
          </a:prstGeom>
          <a:solidFill>
            <a:srgbClr val="779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5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9236" name="TextBox 81">
            <a:extLst>
              <a:ext uri="{FF2B5EF4-FFF2-40B4-BE49-F238E27FC236}">
                <a16:creationId xmlns:a16="http://schemas.microsoft.com/office/drawing/2014/main" id="{DC0722F7-598C-4ED7-0852-B98E63D294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67313" y="6170613"/>
            <a:ext cx="112871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ұқсат</a:t>
            </a: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ілген</a:t>
            </a:r>
            <a:endParaRPr lang="ru-RU" altLang="ru-RU" sz="9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37" name="TextBox 99">
            <a:extLst>
              <a:ext uri="{FF2B5EF4-FFF2-40B4-BE49-F238E27FC236}">
                <a16:creationId xmlns:a16="http://schemas.microsoft.com/office/drawing/2014/main" id="{4356FE5B-A802-7B02-8E65-F4B6657BB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05663" y="3825875"/>
            <a:ext cx="703262" cy="369888"/>
          </a:xfrm>
          <a:prstGeom prst="rect">
            <a:avLst/>
          </a:prstGeom>
          <a:solidFill>
            <a:srgbClr val="FFD9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С</a:t>
            </a:r>
          </a:p>
        </p:txBody>
      </p:sp>
      <p:sp>
        <p:nvSpPr>
          <p:cNvPr id="9238" name="TextBox 100">
            <a:extLst>
              <a:ext uri="{FF2B5EF4-FFF2-40B4-BE49-F238E27FC236}">
                <a16:creationId xmlns:a16="http://schemas.microsoft.com/office/drawing/2014/main" id="{17A63B6F-E624-BEE2-5AA8-9278410613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05663" y="4560888"/>
            <a:ext cx="704850" cy="368300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/>
              <a:t>D</a:t>
            </a:r>
            <a:endParaRPr lang="ru-RU" altLang="ru-RU" sz="1800" b="1"/>
          </a:p>
        </p:txBody>
      </p:sp>
      <p:sp>
        <p:nvSpPr>
          <p:cNvPr id="9239" name="TextBox 101">
            <a:extLst>
              <a:ext uri="{FF2B5EF4-FFF2-40B4-BE49-F238E27FC236}">
                <a16:creationId xmlns:a16="http://schemas.microsoft.com/office/drawing/2014/main" id="{04E151C1-EF2A-4D7C-281D-9981DFAB70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94550" y="3084513"/>
            <a:ext cx="704850" cy="368300"/>
          </a:xfrm>
          <a:prstGeom prst="rect">
            <a:avLst/>
          </a:prstGeom>
          <a:solidFill>
            <a:srgbClr val="FF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В</a:t>
            </a:r>
          </a:p>
        </p:txBody>
      </p:sp>
      <p:sp>
        <p:nvSpPr>
          <p:cNvPr id="9240" name="TextBox 103">
            <a:extLst>
              <a:ext uri="{FF2B5EF4-FFF2-40B4-BE49-F238E27FC236}">
                <a16:creationId xmlns:a16="http://schemas.microsoft.com/office/drawing/2014/main" id="{25973081-AF10-E6AF-3E8F-72EDCCADB9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77088" y="2289175"/>
            <a:ext cx="704850" cy="369888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>
                <a:solidFill>
                  <a:schemeClr val="bg1"/>
                </a:solidFill>
              </a:rPr>
              <a:t>A</a:t>
            </a:r>
            <a:endParaRPr lang="ru-RU" altLang="ru-RU" sz="1800" b="1">
              <a:solidFill>
                <a:schemeClr val="bg1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1D4D2555-7B7E-2787-AE94-3476B4FB2318}"/>
              </a:ext>
            </a:extLst>
          </p:cNvPr>
          <p:cNvSpPr txBox="1"/>
          <p:nvPr/>
        </p:nvSpPr>
        <p:spPr>
          <a:xfrm>
            <a:off x="6994525" y="2613025"/>
            <a:ext cx="1093788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ды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ныс</a:t>
            </a:r>
            <a:endParaRPr lang="ru-RU" sz="9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31EBDFD6-B4B0-8C97-A9B0-32F34121F79B}"/>
              </a:ext>
            </a:extLst>
          </p:cNvPr>
          <p:cNvSpPr txBox="1"/>
          <p:nvPr/>
        </p:nvSpPr>
        <p:spPr>
          <a:xfrm>
            <a:off x="7062788" y="4945063"/>
            <a:ext cx="10207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ды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ныс</a:t>
            </a:r>
            <a:endParaRPr lang="ru-RU" sz="9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7E992DEF-8937-BE73-758D-2363C07231B7}"/>
              </a:ext>
            </a:extLst>
          </p:cNvPr>
          <p:cNvSpPr txBox="1"/>
          <p:nvPr/>
        </p:nvSpPr>
        <p:spPr>
          <a:xfrm>
            <a:off x="7158038" y="4170363"/>
            <a:ext cx="820737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ныс</a:t>
            </a:r>
            <a:endParaRPr lang="ru-RU" sz="9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83F6693A-5C5E-5939-9DAF-5EA00513A84B}"/>
              </a:ext>
            </a:extLst>
          </p:cNvPr>
          <p:cNvSpPr txBox="1"/>
          <p:nvPr/>
        </p:nvSpPr>
        <p:spPr>
          <a:xfrm>
            <a:off x="7153275" y="3436938"/>
            <a:ext cx="81915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ныс</a:t>
            </a:r>
            <a:endParaRPr lang="ru-RU" sz="9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3" name="Группа 102">
            <a:extLst>
              <a:ext uri="{FF2B5EF4-FFF2-40B4-BE49-F238E27FC236}">
                <a16:creationId xmlns:a16="http://schemas.microsoft.com/office/drawing/2014/main" id="{4A45C259-B28C-8707-EB41-0FA1F2DFA848}"/>
              </a:ext>
            </a:extLst>
          </p:cNvPr>
          <p:cNvGrpSpPr/>
          <p:nvPr/>
        </p:nvGrpSpPr>
        <p:grpSpPr bwMode="auto">
          <a:xfrm rot="10800000" flipH="1">
            <a:off x="6464819" y="2852677"/>
            <a:ext cx="235937" cy="2345950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104" name="Шеврон 20">
              <a:extLst>
                <a:ext uri="{FF2B5EF4-FFF2-40B4-BE49-F238E27FC236}">
                  <a16:creationId xmlns:a16="http://schemas.microsoft.com/office/drawing/2014/main" id="{0DF7DED4-9EB0-9676-34AB-9DFA449605BB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05" name="Шеврон 71">
              <a:extLst>
                <a:ext uri="{FF2B5EF4-FFF2-40B4-BE49-F238E27FC236}">
                  <a16:creationId xmlns:a16="http://schemas.microsoft.com/office/drawing/2014/main" id="{24787383-C14E-91CF-7FC7-BBB5573E301B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9246" name="TextBox 82">
            <a:extLst>
              <a:ext uri="{FF2B5EF4-FFF2-40B4-BE49-F238E27FC236}">
                <a16:creationId xmlns:a16="http://schemas.microsoft.com/office/drawing/2014/main" id="{78033F44-662A-CC94-CDC5-F23D4E0346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99088" y="5259388"/>
            <a:ext cx="5921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</a:t>
            </a: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247" name="TextBox 83">
            <a:extLst>
              <a:ext uri="{FF2B5EF4-FFF2-40B4-BE49-F238E27FC236}">
                <a16:creationId xmlns:a16="http://schemas.microsoft.com/office/drawing/2014/main" id="{2A1AB2E2-3324-F0B5-957E-F5710F2D76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0825" y="4329113"/>
            <a:ext cx="7239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248" name="TextBox 84">
            <a:extLst>
              <a:ext uri="{FF2B5EF4-FFF2-40B4-BE49-F238E27FC236}">
                <a16:creationId xmlns:a16="http://schemas.microsoft.com/office/drawing/2014/main" id="{130E5D49-05D7-11CA-E42F-CF8C1260D2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14950" y="3408363"/>
            <a:ext cx="7143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endParaRPr lang="ru-RU" altLang="ru-RU" sz="9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49" name="TextBox 85">
            <a:extLst>
              <a:ext uri="{FF2B5EF4-FFF2-40B4-BE49-F238E27FC236}">
                <a16:creationId xmlns:a16="http://schemas.microsoft.com/office/drawing/2014/main" id="{29B1B786-8944-707E-F872-3081CD4987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1588" y="2657475"/>
            <a:ext cx="117157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е</a:t>
            </a: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endParaRPr lang="ru-RU" altLang="ru-RU" sz="9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50" name="TextBox 61">
            <a:extLst>
              <a:ext uri="{FF2B5EF4-FFF2-40B4-BE49-F238E27FC236}">
                <a16:creationId xmlns:a16="http://schemas.microsoft.com/office/drawing/2014/main" id="{58581C1B-72B6-2E3D-F0BA-DF50951DE4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7638" y="753134"/>
            <a:ext cx="28622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ІР</a:t>
            </a:r>
          </a:p>
        </p:txBody>
      </p:sp>
      <p:sp>
        <p:nvSpPr>
          <p:cNvPr id="9251" name="TextBox 61">
            <a:extLst>
              <a:ext uri="{FF2B5EF4-FFF2-40B4-BE49-F238E27FC236}">
                <a16:creationId xmlns:a16="http://schemas.microsoft.com/office/drawing/2014/main" id="{F5972BCB-B892-582E-789D-A7A935DF33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41136" y="797205"/>
            <a:ext cx="28622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Й БОЛАДЫ</a:t>
            </a:r>
          </a:p>
        </p:txBody>
      </p:sp>
      <p:sp>
        <p:nvSpPr>
          <p:cNvPr id="117" name="Стрелка вправо 116">
            <a:extLst>
              <a:ext uri="{FF2B5EF4-FFF2-40B4-BE49-F238E27FC236}">
                <a16:creationId xmlns:a16="http://schemas.microsoft.com/office/drawing/2014/main" id="{32B8EA2E-7C84-47E6-784E-CCDDCCACAA51}"/>
              </a:ext>
            </a:extLst>
          </p:cNvPr>
          <p:cNvSpPr/>
          <p:nvPr/>
        </p:nvSpPr>
        <p:spPr>
          <a:xfrm rot="16200000">
            <a:off x="5499894" y="3696494"/>
            <a:ext cx="2767012" cy="139700"/>
          </a:xfrm>
          <a:prstGeom prst="rightArrow">
            <a:avLst>
              <a:gd name="adj1" fmla="val 50000"/>
              <a:gd name="adj2" fmla="val 147731"/>
            </a:avLst>
          </a:prstGeom>
          <a:gradFill flip="none" rotWithShape="1">
            <a:gsLst>
              <a:gs pos="0">
                <a:srgbClr val="C00000"/>
              </a:gs>
              <a:gs pos="22000">
                <a:schemeClr val="accent2">
                  <a:lumMod val="75000"/>
                </a:schemeClr>
              </a:gs>
              <a:gs pos="97688">
                <a:schemeClr val="accent6">
                  <a:lumMod val="60000"/>
                  <a:lumOff val="4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D35A5483-D549-CF0A-A210-A7EE3C28E9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2553329"/>
              </p:ext>
            </p:extLst>
          </p:nvPr>
        </p:nvGraphicFramePr>
        <p:xfrm>
          <a:off x="219240" y="2355850"/>
          <a:ext cx="3792428" cy="2831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9" name="TextBox 61">
            <a:extLst>
              <a:ext uri="{FF2B5EF4-FFF2-40B4-BE49-F238E27FC236}">
                <a16:creationId xmlns:a16="http://schemas.microsoft.com/office/drawing/2014/main" id="{5151357F-8178-7CC4-89D5-0D24E56E52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981" y="1328738"/>
            <a:ext cx="4124325" cy="5778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2700">
              <a:lnSpc>
                <a:spcPct val="100000"/>
              </a:lnSpc>
              <a:spcBef>
                <a:spcPts val="105"/>
              </a:spcBef>
              <a:buNone/>
            </a:pPr>
            <a:r>
              <a:rPr lang="ru-RU" sz="1050" b="1" spc="-5" dirty="0">
                <a:latin typeface="Arial" panose="020B0604020202020204" pitchFamily="34" charset="0"/>
                <a:cs typeface="Arial" panose="020B0604020202020204" pitchFamily="34" charset="0"/>
              </a:rPr>
              <a:t>САҚТАНДЫРУ ТАРИФІ ЭКОНОМИКАЛЫҚ ҚЫЗМЕТ ТҮРЛЕРІНЕ СӘЙКЕС КӘСІПТІК ТӘУЕКЕЛДІҢ 22 СЫНЫБЫ ЕТҚ БОЙЫНША 0,12-2,96-ДАН АНЫҚТАЛАДЫ</a:t>
            </a:r>
            <a:endParaRPr lang="ru-RU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E29B259C-93E6-A766-05D8-B03C6889D860}"/>
              </a:ext>
            </a:extLst>
          </p:cNvPr>
          <p:cNvCxnSpPr>
            <a:cxnSpLocks/>
          </p:cNvCxnSpPr>
          <p:nvPr/>
        </p:nvCxnSpPr>
        <p:spPr>
          <a:xfrm>
            <a:off x="9377363" y="1495425"/>
            <a:ext cx="0" cy="482123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56" name="TextBox 61">
            <a:extLst>
              <a:ext uri="{FF2B5EF4-FFF2-40B4-BE49-F238E27FC236}">
                <a16:creationId xmlns:a16="http://schemas.microsoft.com/office/drawing/2014/main" id="{3E7F1593-E8C0-8670-38C8-A5B5AAD88F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77375" y="1617663"/>
            <a:ext cx="2455863" cy="4539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салға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1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н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йлердің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ы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ің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4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ныбына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ады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ифі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ЕТҚ -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н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,55%. 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1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орын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ежесі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-ке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зету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эффициентін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е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ифі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55*1,4=2,17%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1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1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орын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ежесі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-ге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зету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эффициентін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е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ифі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55*1,2=1,86%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alt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</a:t>
            </a:r>
            <a:endParaRPr lang="ru-RU" altLang="ru-RU" sz="11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4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1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0E89900-905F-3997-8A60-F4EA3B0928D7}"/>
              </a:ext>
            </a:extLst>
          </p:cNvPr>
          <p:cNvSpPr txBox="1"/>
          <p:nvPr/>
        </p:nvSpPr>
        <p:spPr>
          <a:xfrm>
            <a:off x="332665" y="240098"/>
            <a:ext cx="118307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ҢБЕКТІ ҚОРҒАУДЫҢ ЖАҢА ИДЕОЛОГИЯСЫ: </a:t>
            </a:r>
            <a:r>
              <a:rPr kumimoji="0" lang="ru-RU" alt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әсіптік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әуекел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әрежесі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қтандыру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арифтері</a:t>
            </a:r>
            <a:endParaRPr kumimoji="0" lang="ru-RU" alt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6">
            <a:extLst>
              <a:ext uri="{FF2B5EF4-FFF2-40B4-BE49-F238E27FC236}">
                <a16:creationId xmlns:a16="http://schemas.microsoft.com/office/drawing/2014/main" id="{46F5C69F-B339-474E-6B04-7153E4E8DC4D}"/>
              </a:ext>
            </a:extLst>
          </p:cNvPr>
          <p:cNvSpPr/>
          <p:nvPr/>
        </p:nvSpPr>
        <p:spPr>
          <a:xfrm>
            <a:off x="74613" y="1164568"/>
            <a:ext cx="4672012" cy="5323545"/>
          </a:xfrm>
          <a:prstGeom prst="homePlate">
            <a:avLst>
              <a:gd name="adj" fmla="val 13243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12000" rIns="0" bIns="0"/>
          <a:lstStyle/>
          <a:p>
            <a:pPr algn="ctr" defTabSz="914324">
              <a:defRPr/>
            </a:pPr>
            <a:endParaRPr lang="en-US" sz="14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60A21A68-B834-6A61-FA5C-9ED715484042}"/>
              </a:ext>
            </a:extLst>
          </p:cNvPr>
          <p:cNvSpPr/>
          <p:nvPr/>
        </p:nvSpPr>
        <p:spPr>
          <a:xfrm>
            <a:off x="4927600" y="1106488"/>
            <a:ext cx="7146925" cy="5205412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93" name="Прямая соединительная линия 92">
            <a:extLst>
              <a:ext uri="{FF2B5EF4-FFF2-40B4-BE49-F238E27FC236}">
                <a16:creationId xmlns:a16="http://schemas.microsoft.com/office/drawing/2014/main" id="{85074A38-ADE9-7F48-63E4-20608FEEDAB8}"/>
              </a:ext>
            </a:extLst>
          </p:cNvPr>
          <p:cNvCxnSpPr>
            <a:cxnSpLocks/>
          </p:cNvCxnSpPr>
          <p:nvPr/>
        </p:nvCxnSpPr>
        <p:spPr>
          <a:xfrm>
            <a:off x="153732" y="615112"/>
            <a:ext cx="115617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0">
            <a:extLst>
              <a:ext uri="{FF2B5EF4-FFF2-40B4-BE49-F238E27FC236}">
                <a16:creationId xmlns:a16="http://schemas.microsoft.com/office/drawing/2014/main" id="{43E561A9-680A-3E62-BFBB-E5C9B3F72E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02699" y="1477963"/>
            <a:ext cx="2599489" cy="2539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32740">
              <a:lnSpc>
                <a:spcPct val="100000"/>
              </a:lnSpc>
              <a:spcBef>
                <a:spcPts val="330"/>
              </a:spcBef>
            </a:pPr>
            <a:r>
              <a:rPr lang="kk-KZ" sz="1050" b="1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 кепілдіктің түрлері</a:t>
            </a:r>
            <a:endParaRPr lang="kk-KZ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45" name="TextBox 61">
            <a:extLst>
              <a:ext uri="{FF2B5EF4-FFF2-40B4-BE49-F238E27FC236}">
                <a16:creationId xmlns:a16="http://schemas.microsoft.com/office/drawing/2014/main" id="{CD5833B9-30BA-69CA-16E3-612193D56A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49209" y="1219875"/>
            <a:ext cx="5127625" cy="4159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 КЕПІЛДІКТЕРДІҢ ТҮРЛЕРІ МЕН КӨЛЕМІ КӘСІПТІК ТӘУЕКЕЛ ДӘРЕЖЕСІНЕН САРАЛАНАТЫН БОЛАДЫ</a:t>
            </a:r>
          </a:p>
        </p:txBody>
      </p:sp>
      <p:sp>
        <p:nvSpPr>
          <p:cNvPr id="10248" name="Номер слайда 8">
            <a:extLst>
              <a:ext uri="{FF2B5EF4-FFF2-40B4-BE49-F238E27FC236}">
                <a16:creationId xmlns:a16="http://schemas.microsoft.com/office/drawing/2014/main" id="{E28AAAA1-F03D-0410-AF0F-822B9401D50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9367838" y="6505575"/>
            <a:ext cx="27432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BD9E4FB6-3882-421B-8BC3-E2B25108E197}" type="slidenum">
              <a:rPr lang="ru-RU" altLang="ru-RU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7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grpSp>
        <p:nvGrpSpPr>
          <p:cNvPr id="7186" name="Группа 7185">
            <a:extLst>
              <a:ext uri="{FF2B5EF4-FFF2-40B4-BE49-F238E27FC236}">
                <a16:creationId xmlns:a16="http://schemas.microsoft.com/office/drawing/2014/main" id="{1594498F-9B8A-DE92-857A-422A4AA73320}"/>
              </a:ext>
            </a:extLst>
          </p:cNvPr>
          <p:cNvGrpSpPr/>
          <p:nvPr/>
        </p:nvGrpSpPr>
        <p:grpSpPr bwMode="auto">
          <a:xfrm rot="10800000" flipH="1">
            <a:off x="8276565" y="2907977"/>
            <a:ext cx="192687" cy="1321417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7187" name="Шеврон 20">
              <a:extLst>
                <a:ext uri="{FF2B5EF4-FFF2-40B4-BE49-F238E27FC236}">
                  <a16:creationId xmlns:a16="http://schemas.microsoft.com/office/drawing/2014/main" id="{D6AA6FD8-6561-212D-36BC-7208B4CA79E5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7197" name="Шеврон 71">
              <a:extLst>
                <a:ext uri="{FF2B5EF4-FFF2-40B4-BE49-F238E27FC236}">
                  <a16:creationId xmlns:a16="http://schemas.microsoft.com/office/drawing/2014/main" id="{301C7C10-2CC0-2B0A-E19C-EBD3E6E17E75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7198" name="Равнобедренный треугольник 7197">
            <a:extLst>
              <a:ext uri="{FF2B5EF4-FFF2-40B4-BE49-F238E27FC236}">
                <a16:creationId xmlns:a16="http://schemas.microsoft.com/office/drawing/2014/main" id="{EE049FF6-0A2C-AEE1-A165-07C1F9E9D2CF}"/>
              </a:ext>
            </a:extLst>
          </p:cNvPr>
          <p:cNvSpPr/>
          <p:nvPr/>
        </p:nvSpPr>
        <p:spPr>
          <a:xfrm rot="10800000">
            <a:off x="9045575" y="1778000"/>
            <a:ext cx="2138363" cy="188913"/>
          </a:xfrm>
          <a:prstGeom prst="triangle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x-none" dirty="0"/>
          </a:p>
        </p:txBody>
      </p:sp>
      <p:sp>
        <p:nvSpPr>
          <p:cNvPr id="10251" name="TextBox 99">
            <a:extLst>
              <a:ext uri="{FF2B5EF4-FFF2-40B4-BE49-F238E27FC236}">
                <a16:creationId xmlns:a16="http://schemas.microsoft.com/office/drawing/2014/main" id="{043BAD97-2C63-1775-A7B8-1DCE048F27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46950" y="3803650"/>
            <a:ext cx="703263" cy="369888"/>
          </a:xfrm>
          <a:prstGeom prst="rect">
            <a:avLst/>
          </a:prstGeom>
          <a:solidFill>
            <a:srgbClr val="FFD9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С</a:t>
            </a:r>
          </a:p>
        </p:txBody>
      </p:sp>
      <p:sp>
        <p:nvSpPr>
          <p:cNvPr id="10252" name="TextBox 100">
            <a:extLst>
              <a:ext uri="{FF2B5EF4-FFF2-40B4-BE49-F238E27FC236}">
                <a16:creationId xmlns:a16="http://schemas.microsoft.com/office/drawing/2014/main" id="{D2FEDB52-BC17-A955-4E46-A578D2CF80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7588" y="4581525"/>
            <a:ext cx="704850" cy="368300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/>
              <a:t>D</a:t>
            </a:r>
            <a:endParaRPr lang="ru-RU" altLang="ru-RU" sz="1800" b="1"/>
          </a:p>
        </p:txBody>
      </p:sp>
      <p:sp>
        <p:nvSpPr>
          <p:cNvPr id="10253" name="TextBox 101">
            <a:extLst>
              <a:ext uri="{FF2B5EF4-FFF2-40B4-BE49-F238E27FC236}">
                <a16:creationId xmlns:a16="http://schemas.microsoft.com/office/drawing/2014/main" id="{42C6E2D0-354C-B260-9EA1-908B7ED885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37425" y="3000375"/>
            <a:ext cx="704850" cy="368300"/>
          </a:xfrm>
          <a:prstGeom prst="rect">
            <a:avLst/>
          </a:prstGeom>
          <a:solidFill>
            <a:srgbClr val="FF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В</a:t>
            </a:r>
          </a:p>
        </p:txBody>
      </p:sp>
      <p:sp>
        <p:nvSpPr>
          <p:cNvPr id="10254" name="TextBox 103">
            <a:extLst>
              <a:ext uri="{FF2B5EF4-FFF2-40B4-BE49-F238E27FC236}">
                <a16:creationId xmlns:a16="http://schemas.microsoft.com/office/drawing/2014/main" id="{F12A33DD-C220-38B1-3DCC-87764844B3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18375" y="2127250"/>
            <a:ext cx="704850" cy="369888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>
                <a:solidFill>
                  <a:schemeClr val="bg1"/>
                </a:solidFill>
              </a:rPr>
              <a:t>A</a:t>
            </a:r>
            <a:endParaRPr lang="ru-RU" altLang="ru-RU" sz="1800" b="1">
              <a:solidFill>
                <a:schemeClr val="bg1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2F32CA38-7FC8-DD17-5F39-E2C881B9F3D6}"/>
              </a:ext>
            </a:extLst>
          </p:cNvPr>
          <p:cNvSpPr txBox="1"/>
          <p:nvPr/>
        </p:nvSpPr>
        <p:spPr>
          <a:xfrm>
            <a:off x="7123113" y="2527300"/>
            <a:ext cx="1093787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ды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ныс</a:t>
            </a:r>
            <a:endParaRPr lang="ru-RU" sz="9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8CB036D-FD0A-165C-211F-BA520A170AA8}"/>
              </a:ext>
            </a:extLst>
          </p:cNvPr>
          <p:cNvSpPr txBox="1"/>
          <p:nvPr/>
        </p:nvSpPr>
        <p:spPr>
          <a:xfrm>
            <a:off x="7262813" y="4984750"/>
            <a:ext cx="1020762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ды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ныс</a:t>
            </a:r>
            <a:endParaRPr lang="ru-RU" sz="9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36C9B0D5-6A9C-B9CE-1665-BA0666DC85D6}"/>
              </a:ext>
            </a:extLst>
          </p:cNvPr>
          <p:cNvSpPr txBox="1"/>
          <p:nvPr/>
        </p:nvSpPr>
        <p:spPr>
          <a:xfrm>
            <a:off x="7288213" y="4173538"/>
            <a:ext cx="820737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ныс</a:t>
            </a:r>
            <a:endParaRPr lang="ru-RU" sz="9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0D7D4FCA-1B84-7707-3F4F-3800EEC1C09E}"/>
              </a:ext>
            </a:extLst>
          </p:cNvPr>
          <p:cNvSpPr txBox="1"/>
          <p:nvPr/>
        </p:nvSpPr>
        <p:spPr>
          <a:xfrm>
            <a:off x="7273925" y="3362325"/>
            <a:ext cx="81915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ныс</a:t>
            </a:r>
            <a:endParaRPr lang="ru-RU" sz="9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3" name="Группа 102">
            <a:extLst>
              <a:ext uri="{FF2B5EF4-FFF2-40B4-BE49-F238E27FC236}">
                <a16:creationId xmlns:a16="http://schemas.microsoft.com/office/drawing/2014/main" id="{8D0501D9-1772-63E9-F69E-51D59F9D1D93}"/>
              </a:ext>
            </a:extLst>
          </p:cNvPr>
          <p:cNvGrpSpPr/>
          <p:nvPr/>
        </p:nvGrpSpPr>
        <p:grpSpPr bwMode="auto">
          <a:xfrm rot="10800000" flipH="1">
            <a:off x="6606105" y="2690609"/>
            <a:ext cx="235937" cy="2345950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104" name="Шеврон 20">
              <a:extLst>
                <a:ext uri="{FF2B5EF4-FFF2-40B4-BE49-F238E27FC236}">
                  <a16:creationId xmlns:a16="http://schemas.microsoft.com/office/drawing/2014/main" id="{57B4299F-F0D1-BA3B-8F20-FDA5A6A299F6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05" name="Шеврон 71">
              <a:extLst>
                <a:ext uri="{FF2B5EF4-FFF2-40B4-BE49-F238E27FC236}">
                  <a16:creationId xmlns:a16="http://schemas.microsoft.com/office/drawing/2014/main" id="{51B1E5BA-94CB-4A40-723C-8049E51DC2E0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10260" name="TextBox 61">
            <a:extLst>
              <a:ext uri="{FF2B5EF4-FFF2-40B4-BE49-F238E27FC236}">
                <a16:creationId xmlns:a16="http://schemas.microsoft.com/office/drawing/2014/main" id="{FEE4DD26-B0C8-65E6-2CAB-5FAB46251A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2694" y="826856"/>
            <a:ext cx="28622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ІР</a:t>
            </a:r>
          </a:p>
        </p:txBody>
      </p:sp>
      <p:sp>
        <p:nvSpPr>
          <p:cNvPr id="10261" name="TextBox 61">
            <a:extLst>
              <a:ext uri="{FF2B5EF4-FFF2-40B4-BE49-F238E27FC236}">
                <a16:creationId xmlns:a16="http://schemas.microsoft.com/office/drawing/2014/main" id="{6E80B95A-7E03-DB18-D42B-6CE669F592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46688" y="762100"/>
            <a:ext cx="28622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Й БОЛАДЫ</a:t>
            </a:r>
          </a:p>
        </p:txBody>
      </p:sp>
      <p:sp>
        <p:nvSpPr>
          <p:cNvPr id="117" name="Стрелка вправо 116">
            <a:extLst>
              <a:ext uri="{FF2B5EF4-FFF2-40B4-BE49-F238E27FC236}">
                <a16:creationId xmlns:a16="http://schemas.microsoft.com/office/drawing/2014/main" id="{90552191-9517-72AE-C7BE-17AC6C835A15}"/>
              </a:ext>
            </a:extLst>
          </p:cNvPr>
          <p:cNvSpPr/>
          <p:nvPr/>
        </p:nvSpPr>
        <p:spPr>
          <a:xfrm rot="16200000">
            <a:off x="5641182" y="3534569"/>
            <a:ext cx="2767012" cy="139700"/>
          </a:xfrm>
          <a:prstGeom prst="rightArrow">
            <a:avLst>
              <a:gd name="adj1" fmla="val 50000"/>
              <a:gd name="adj2" fmla="val 147731"/>
            </a:avLst>
          </a:prstGeom>
          <a:gradFill flip="none" rotWithShape="1">
            <a:gsLst>
              <a:gs pos="0">
                <a:srgbClr val="C00000"/>
              </a:gs>
              <a:gs pos="22000">
                <a:schemeClr val="accent2">
                  <a:lumMod val="75000"/>
                </a:schemeClr>
              </a:gs>
              <a:gs pos="97688">
                <a:schemeClr val="accent6">
                  <a:lumMod val="60000"/>
                  <a:lumOff val="4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1480C262-9EB3-E034-65D1-F08D7A6802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6825778"/>
              </p:ext>
            </p:extLst>
          </p:nvPr>
        </p:nvGraphicFramePr>
        <p:xfrm>
          <a:off x="272694" y="2369857"/>
          <a:ext cx="3792428" cy="2831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263" name="TextBox 61">
            <a:extLst>
              <a:ext uri="{FF2B5EF4-FFF2-40B4-BE49-F238E27FC236}">
                <a16:creationId xmlns:a16="http://schemas.microsoft.com/office/drawing/2014/main" id="{3438C56F-E23C-92D5-3D23-00DA85B360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7475" y="1274176"/>
            <a:ext cx="4311650" cy="738664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R="582295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050" b="1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 КЕПІЛДІКТЕР </a:t>
            </a:r>
            <a:r>
              <a:rPr lang="ru-RU" sz="1050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50" i="1" spc="-5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sz="1050" i="1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spc="-5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малыс</a:t>
            </a:r>
            <a:r>
              <a:rPr lang="ru-RU" sz="1050" i="1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50" i="1" spc="-5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sz="1050" i="1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spc="-5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ы</a:t>
            </a:r>
            <a:r>
              <a:rPr lang="ru-RU" sz="1050" i="1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50" i="1" spc="-5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сқартылған</a:t>
            </a:r>
            <a:r>
              <a:rPr lang="ru-RU" sz="1050" i="1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spc="-5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50" i="1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spc="-5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і</a:t>
            </a:r>
            <a:r>
              <a:rPr lang="ru-RU" sz="1050" i="1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50" i="1" spc="-5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.пенс.жарналар</a:t>
            </a:r>
            <a:r>
              <a:rPr lang="ru-RU" sz="1050" i="1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spc="-5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50" i="1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. б.) </a:t>
            </a:r>
            <a:r>
              <a:rPr lang="ru-RU" sz="1050" b="1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ЗІМДІК ТӘСІЛ НЕГІЗІНДЕ ҰСЫНЫЛАДЫ</a:t>
            </a:r>
            <a:endParaRPr lang="ru-RU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BECEDAEA-48DE-F5D8-3D7D-3C2BB33F9F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4656389"/>
              </p:ext>
            </p:extLst>
          </p:nvPr>
        </p:nvGraphicFramePr>
        <p:xfrm>
          <a:off x="8661187" y="2013926"/>
          <a:ext cx="3309199" cy="31105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0265" name="TextBox 61">
            <a:extLst>
              <a:ext uri="{FF2B5EF4-FFF2-40B4-BE49-F238E27FC236}">
                <a16:creationId xmlns:a16="http://schemas.microsoft.com/office/drawing/2014/main" id="{1FD92747-2163-CC05-38F1-B2DB3B42CE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64550" y="5351463"/>
            <a:ext cx="3422650" cy="4000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ts val="100"/>
              </a:spcBef>
              <a:buNone/>
            </a:pPr>
            <a:r>
              <a:rPr lang="ru-RU" sz="1000" b="1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 ТӘУЕКЕЛГЕ </a:t>
            </a:r>
            <a:r>
              <a:rPr lang="ru-RU" sz="1000" b="1" spc="-5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00" b="1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spc="-5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пілдіктердің</a:t>
            </a:r>
            <a:r>
              <a:rPr lang="ru-RU" sz="1000" b="1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ҮЛКЕН </a:t>
            </a:r>
            <a:r>
              <a:rPr lang="ru-RU" sz="1000" b="1" spc="-5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емі</a:t>
            </a:r>
            <a:r>
              <a:rPr lang="ru-RU" sz="1000" b="1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spc="-5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sz="1000" b="1" spc="-5" dirty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spc="-5" dirty="0" err="1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еді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67" name="TextBox 1">
            <a:extLst>
              <a:ext uri="{FF2B5EF4-FFF2-40B4-BE49-F238E27FC236}">
                <a16:creationId xmlns:a16="http://schemas.microsoft.com/office/drawing/2014/main" id="{619B51EC-9BBB-77AD-DA33-F6BC4C3FD8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70500" y="5429250"/>
            <a:ext cx="1187450" cy="446276"/>
          </a:xfrm>
          <a:prstGeom prst="rect">
            <a:avLst/>
          </a:prstGeom>
          <a:solidFill>
            <a:srgbClr val="2E75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1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10268" name="TextBox 57">
            <a:extLst>
              <a:ext uri="{FF2B5EF4-FFF2-40B4-BE49-F238E27FC236}">
                <a16:creationId xmlns:a16="http://schemas.microsoft.com/office/drawing/2014/main" id="{1E3B55B7-795F-7EAE-3B12-226DC144E7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86375" y="4541838"/>
            <a:ext cx="1187450" cy="446276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2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10269" name="TextBox 58">
            <a:extLst>
              <a:ext uri="{FF2B5EF4-FFF2-40B4-BE49-F238E27FC236}">
                <a16:creationId xmlns:a16="http://schemas.microsoft.com/office/drawing/2014/main" id="{E58E1CAF-680C-5B34-9D04-81B9EDE58F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2725" y="3783013"/>
            <a:ext cx="1187450" cy="446087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3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10270" name="TextBox 59">
            <a:extLst>
              <a:ext uri="{FF2B5EF4-FFF2-40B4-BE49-F238E27FC236}">
                <a16:creationId xmlns:a16="http://schemas.microsoft.com/office/drawing/2014/main" id="{87110199-D1BF-76C6-F813-389E4EC357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67325" y="2860675"/>
            <a:ext cx="1187450" cy="461963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4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10271" name="TextBox 67">
            <a:extLst>
              <a:ext uri="{FF2B5EF4-FFF2-40B4-BE49-F238E27FC236}">
                <a16:creationId xmlns:a16="http://schemas.microsoft.com/office/drawing/2014/main" id="{8BD6E511-B171-603B-6124-D4A7E03DAB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59388" y="2081213"/>
            <a:ext cx="1187450" cy="446087"/>
          </a:xfrm>
          <a:prstGeom prst="rect">
            <a:avLst/>
          </a:prstGeom>
          <a:solidFill>
            <a:srgbClr val="779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solidFill>
                  <a:srgbClr val="FFFFFF"/>
                </a:solidFill>
              </a:rPr>
              <a:t>5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 err="1">
                <a:solidFill>
                  <a:srgbClr val="FFFFFF"/>
                </a:solidFill>
              </a:rPr>
              <a:t>дәреже</a:t>
            </a:r>
            <a:endParaRPr lang="ru-RU" altLang="ru-RU" sz="1100" b="1" dirty="0">
              <a:solidFill>
                <a:srgbClr val="FFFFFF"/>
              </a:solidFill>
            </a:endParaRPr>
          </a:p>
        </p:txBody>
      </p:sp>
      <p:sp>
        <p:nvSpPr>
          <p:cNvPr id="10272" name="TextBox 81">
            <a:extLst>
              <a:ext uri="{FF2B5EF4-FFF2-40B4-BE49-F238E27FC236}">
                <a16:creationId xmlns:a16="http://schemas.microsoft.com/office/drawing/2014/main" id="{D46D46C5-CBBE-FFEF-01CC-A1B816842C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5113" y="6034088"/>
            <a:ext cx="110966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ұқсат</a:t>
            </a: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ілген</a:t>
            </a:r>
            <a:endParaRPr lang="ru-RU" altLang="ru-RU" sz="9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73" name="TextBox 82">
            <a:extLst>
              <a:ext uri="{FF2B5EF4-FFF2-40B4-BE49-F238E27FC236}">
                <a16:creationId xmlns:a16="http://schemas.microsoft.com/office/drawing/2014/main" id="{F7230ADF-FC57-66B0-BFFD-9D4A6C891D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75300" y="5124450"/>
            <a:ext cx="59213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</a:t>
            </a: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274" name="TextBox 83">
            <a:extLst>
              <a:ext uri="{FF2B5EF4-FFF2-40B4-BE49-F238E27FC236}">
                <a16:creationId xmlns:a16="http://schemas.microsoft.com/office/drawing/2014/main" id="{1949ABE0-81F9-A7AF-0105-0225C5E1DC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8625" y="4192588"/>
            <a:ext cx="7239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275" name="TextBox 84">
            <a:extLst>
              <a:ext uri="{FF2B5EF4-FFF2-40B4-BE49-F238E27FC236}">
                <a16:creationId xmlns:a16="http://schemas.microsoft.com/office/drawing/2014/main" id="{77D842E3-54B1-4E9D-B2F4-D76EB7C2A3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92750" y="3271838"/>
            <a:ext cx="7143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endParaRPr lang="ru-RU" altLang="ru-RU" sz="9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76" name="TextBox 85">
            <a:extLst>
              <a:ext uri="{FF2B5EF4-FFF2-40B4-BE49-F238E27FC236}">
                <a16:creationId xmlns:a16="http://schemas.microsoft.com/office/drawing/2014/main" id="{8FEE2FCF-BD35-01E5-DD0F-223FACF80E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59388" y="2520950"/>
            <a:ext cx="117157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е</a:t>
            </a: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b="1" dirty="0" err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endParaRPr lang="ru-RU" altLang="ru-RU" sz="9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240CA9E-D6DE-A3D9-5F23-89C6D445A6AB}"/>
              </a:ext>
            </a:extLst>
          </p:cNvPr>
          <p:cNvSpPr txBox="1"/>
          <p:nvPr/>
        </p:nvSpPr>
        <p:spPr>
          <a:xfrm>
            <a:off x="143234" y="234849"/>
            <a:ext cx="119312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ҢБЕКТІ ҚОРҒАУДЫҢ ЖАҢА ИДЕОЛОГИЯСЫ:  </a:t>
            </a:r>
            <a:r>
              <a:rPr kumimoji="0" lang="ru-RU" alt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әсіптік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әуекел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әрежесі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әлеуметтік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пілдіктер</a:t>
            </a:r>
            <a:endParaRPr kumimoji="0" lang="ru-RU" alt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6">
            <a:extLst>
              <a:ext uri="{FF2B5EF4-FFF2-40B4-BE49-F238E27FC236}">
                <a16:creationId xmlns:a16="http://schemas.microsoft.com/office/drawing/2014/main" id="{46F5C69F-B339-474E-6B04-7153E4E8DC4D}"/>
              </a:ext>
            </a:extLst>
          </p:cNvPr>
          <p:cNvSpPr/>
          <p:nvPr/>
        </p:nvSpPr>
        <p:spPr>
          <a:xfrm>
            <a:off x="38989" y="1080780"/>
            <a:ext cx="4518943" cy="5320021"/>
          </a:xfrm>
          <a:prstGeom prst="homePlate">
            <a:avLst>
              <a:gd name="adj" fmla="val 13243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12000" rIns="0" bIns="0"/>
          <a:lstStyle/>
          <a:p>
            <a:pPr algn="ctr" defTabSz="914324">
              <a:defRPr/>
            </a:pPr>
            <a:endParaRPr lang="en-US" sz="1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61">
            <a:extLst>
              <a:ext uri="{FF2B5EF4-FFF2-40B4-BE49-F238E27FC236}">
                <a16:creationId xmlns:a16="http://schemas.microsoft.com/office/drawing/2014/main" id="{FEE4DD26-B0C8-65E6-2CAB-5FAB46251A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066" y="762000"/>
            <a:ext cx="28622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ІР</a:t>
            </a:r>
          </a:p>
        </p:txBody>
      </p:sp>
      <p:sp>
        <p:nvSpPr>
          <p:cNvPr id="4" name="Rectangle 59">
            <a:extLst>
              <a:ext uri="{FF2B5EF4-FFF2-40B4-BE49-F238E27FC236}">
                <a16:creationId xmlns:a16="http://schemas.microsoft.com/office/drawing/2014/main" id="{7844370B-B8AC-1E71-14CD-78478E9B4E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712" y="2139175"/>
            <a:ext cx="1243326" cy="660738"/>
          </a:xfrm>
          <a:prstGeom prst="rect">
            <a:avLst/>
          </a:prstGeom>
          <a:noFill/>
          <a:ln w="28575">
            <a:solidFill>
              <a:srgbClr val="295E7E"/>
            </a:solidFill>
          </a:ln>
        </p:spPr>
        <p:txBody>
          <a:bodyPr lIns="36000" tIns="0" rIns="36000" bIns="0" anchor="ctr"/>
          <a:lstStyle/>
          <a:p>
            <a:pPr algn="ctr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0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ЕҚжҚ</a:t>
            </a:r>
            <a:r>
              <a:rPr lang="ru-RU" altLang="ru-RU" sz="10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10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басшылар</a:t>
            </a:r>
            <a:r>
              <a:rPr lang="ru-RU" altLang="ru-RU" sz="10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10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жауапты</a:t>
            </a:r>
            <a:r>
              <a:rPr lang="ru-RU" altLang="ru-RU" sz="10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тұлғалар</a:t>
            </a:r>
            <a:endParaRPr lang="ru-RU" altLang="ru-RU" sz="1000" b="1" kern="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59">
            <a:extLst>
              <a:ext uri="{FF2B5EF4-FFF2-40B4-BE49-F238E27FC236}">
                <a16:creationId xmlns:a16="http://schemas.microsoft.com/office/drawing/2014/main" id="{19983616-81E7-969F-6124-307C9363A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3040" y="2139175"/>
            <a:ext cx="962327" cy="660738"/>
          </a:xfrm>
          <a:prstGeom prst="rect">
            <a:avLst/>
          </a:prstGeom>
          <a:noFill/>
          <a:ln w="28575">
            <a:solidFill>
              <a:srgbClr val="295E7E"/>
            </a:solidFill>
          </a:ln>
        </p:spPr>
        <p:txBody>
          <a:bodyPr lIns="36000" tIns="0" rIns="36000" bIns="0" anchor="ctr"/>
          <a:lstStyle/>
          <a:p>
            <a:pPr algn="ctr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0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Оқыту</a:t>
            </a:r>
            <a:r>
              <a:rPr lang="ru-RU" altLang="ru-RU" sz="10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орталықтары</a:t>
            </a:r>
            <a:endParaRPr lang="ru-RU" altLang="ru-RU" sz="1000" b="1" kern="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9">
            <a:extLst>
              <a:ext uri="{FF2B5EF4-FFF2-40B4-BE49-F238E27FC236}">
                <a16:creationId xmlns:a16="http://schemas.microsoft.com/office/drawing/2014/main" id="{7EFB3ACF-645E-A3CD-C629-44AC46F46A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37340" y="2130658"/>
            <a:ext cx="1100483" cy="660738"/>
          </a:xfrm>
          <a:prstGeom prst="rect">
            <a:avLst/>
          </a:prstGeom>
          <a:noFill/>
          <a:ln w="28575">
            <a:solidFill>
              <a:srgbClr val="295E7E"/>
            </a:solidFill>
          </a:ln>
        </p:spPr>
        <p:txBody>
          <a:bodyPr lIns="36000" tIns="0" rIns="36000" bIns="0" anchor="ctr"/>
          <a:lstStyle/>
          <a:p>
            <a:pPr algn="ctr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0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Біліктілікті</a:t>
            </a:r>
            <a:r>
              <a:rPr lang="ru-RU" altLang="ru-RU" sz="10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арттыру</a:t>
            </a:r>
            <a:r>
              <a:rPr lang="ru-RU" altLang="ru-RU" sz="10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туралы</a:t>
            </a:r>
            <a:r>
              <a:rPr lang="ru-RU" altLang="ru-RU" sz="10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Сертификат</a:t>
            </a:r>
          </a:p>
        </p:txBody>
      </p:sp>
      <p:cxnSp>
        <p:nvCxnSpPr>
          <p:cNvPr id="7" name="Прямая со стрелкой 6">
            <a:extLst>
              <a:ext uri="{FF2B5EF4-FFF2-40B4-BE49-F238E27FC236}">
                <a16:creationId xmlns:a16="http://schemas.microsoft.com/office/drawing/2014/main" id="{2931C9D1-6A41-886B-9525-478C65D8D78A}"/>
              </a:ext>
            </a:extLst>
          </p:cNvPr>
          <p:cNvCxnSpPr/>
          <p:nvPr/>
        </p:nvCxnSpPr>
        <p:spPr>
          <a:xfrm flipV="1">
            <a:off x="1412038" y="2466180"/>
            <a:ext cx="216000" cy="0"/>
          </a:xfrm>
          <a:prstGeom prst="straightConnector1">
            <a:avLst/>
          </a:prstGeom>
          <a:ln>
            <a:solidFill>
              <a:srgbClr val="44517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17B0F271-0D56-39D6-FF96-E5EE0B4351F3}"/>
              </a:ext>
            </a:extLst>
          </p:cNvPr>
          <p:cNvCxnSpPr/>
          <p:nvPr/>
        </p:nvCxnSpPr>
        <p:spPr>
          <a:xfrm flipV="1">
            <a:off x="2635367" y="2461301"/>
            <a:ext cx="216000" cy="0"/>
          </a:xfrm>
          <a:prstGeom prst="straightConnector1">
            <a:avLst/>
          </a:prstGeom>
          <a:ln>
            <a:solidFill>
              <a:srgbClr val="44517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59">
            <a:extLst>
              <a:ext uri="{FF2B5EF4-FFF2-40B4-BE49-F238E27FC236}">
                <a16:creationId xmlns:a16="http://schemas.microsoft.com/office/drawing/2014/main" id="{AA132DB5-A503-0DE0-1120-1B842683D6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364" y="3103272"/>
            <a:ext cx="1915638" cy="660738"/>
          </a:xfrm>
          <a:prstGeom prst="rect">
            <a:avLst/>
          </a:prstGeom>
          <a:noFill/>
          <a:ln>
            <a:solidFill>
              <a:srgbClr val="44517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Жалпы</a:t>
            </a:r>
            <a:r>
              <a:rPr lang="ru-RU" altLang="ru-RU" sz="8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sz="8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құзыреттілікті</a:t>
            </a:r>
            <a:r>
              <a:rPr lang="ru-RU" altLang="ru-RU" sz="8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дамыту</a:t>
            </a:r>
            <a:r>
              <a:rPr lang="ru-RU" altLang="ru-RU" sz="8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8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оқыту</a:t>
            </a:r>
            <a:r>
              <a:rPr lang="ru-RU" altLang="ru-RU" sz="8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sz="8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қызметте</a:t>
            </a:r>
            <a:r>
              <a:rPr lang="ru-RU" altLang="ru-RU" sz="8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800" kern="0" dirty="0">
                <a:latin typeface="Century Gothic" panose="020B0502020202020204" pitchFamily="34" charset="0"/>
                <a:cs typeface="Arial" panose="020B0604020202020204" pitchFamily="34" charset="0"/>
              </a:rPr>
              <a:t> 1 </a:t>
            </a: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рет</a:t>
            </a:r>
            <a:endParaRPr lang="ru-RU" altLang="ru-RU" sz="800" kern="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59">
            <a:extLst>
              <a:ext uri="{FF2B5EF4-FFF2-40B4-BE49-F238E27FC236}">
                <a16:creationId xmlns:a16="http://schemas.microsoft.com/office/drawing/2014/main" id="{91E2E36D-D90C-8BB3-0898-3552454E56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9002" y="3107377"/>
            <a:ext cx="1675211" cy="660738"/>
          </a:xfrm>
          <a:prstGeom prst="rect">
            <a:avLst/>
          </a:prstGeom>
          <a:noFill/>
          <a:ln>
            <a:solidFill>
              <a:srgbClr val="44517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Арнайы</a:t>
            </a:r>
            <a:r>
              <a:rPr lang="ru-RU" altLang="ru-RU" sz="8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оқыту</a:t>
            </a:r>
            <a:r>
              <a:rPr lang="ru-RU" altLang="ru-RU" sz="8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8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Кәсіби</a:t>
            </a:r>
            <a:r>
              <a:rPr lang="ru-RU" altLang="ru-RU" sz="8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құзыреттіліктерді</a:t>
            </a:r>
            <a:r>
              <a:rPr lang="ru-RU" altLang="ru-RU" sz="8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дамыту</a:t>
            </a:r>
            <a:r>
              <a:rPr lang="ru-RU" altLang="ru-RU" sz="8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800" kern="0" dirty="0">
                <a:latin typeface="Century Gothic" panose="020B0502020202020204" pitchFamily="34" charset="0"/>
                <a:cs typeface="Arial" panose="020B0604020202020204" pitchFamily="34" charset="0"/>
              </a:rPr>
              <a:t> 3 </a:t>
            </a: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жылда</a:t>
            </a:r>
            <a:r>
              <a:rPr lang="ru-RU" altLang="ru-RU" sz="800" kern="0" dirty="0">
                <a:latin typeface="Century Gothic" panose="020B0502020202020204" pitchFamily="34" charset="0"/>
                <a:cs typeface="Arial" panose="020B0604020202020204" pitchFamily="34" charset="0"/>
              </a:rPr>
              <a:t> 1 </a:t>
            </a:r>
            <a:r>
              <a:rPr lang="ru-RU" altLang="ru-RU" sz="8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рет</a:t>
            </a:r>
            <a:endParaRPr lang="ru-RU" altLang="ru-RU" sz="800" kern="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59">
            <a:extLst>
              <a:ext uri="{FF2B5EF4-FFF2-40B4-BE49-F238E27FC236}">
                <a16:creationId xmlns:a16="http://schemas.microsoft.com/office/drawing/2014/main" id="{5C7AB681-097C-140A-FBCA-85916C527B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7226" y="4035969"/>
            <a:ext cx="2286628" cy="540620"/>
          </a:xfrm>
          <a:prstGeom prst="rect">
            <a:avLst/>
          </a:prstGeom>
          <a:noFill/>
          <a:ln>
            <a:solidFill>
              <a:srgbClr val="44517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Жұмыскерлердің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жылдық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саны 250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адамнан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асатын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ірі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кәсіпкерлік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субъектілері</a:t>
            </a:r>
            <a:endParaRPr lang="ru-RU" sz="8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59">
            <a:extLst>
              <a:ext uri="{FF2B5EF4-FFF2-40B4-BE49-F238E27FC236}">
                <a16:creationId xmlns:a16="http://schemas.microsoft.com/office/drawing/2014/main" id="{CC6AAE73-6FF2-F433-0D8F-68F9E6FA31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5220" y="4614512"/>
            <a:ext cx="2286630" cy="540620"/>
          </a:xfrm>
          <a:prstGeom prst="rect">
            <a:avLst/>
          </a:prstGeom>
          <a:noFill/>
          <a:ln>
            <a:solidFill>
              <a:srgbClr val="44517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Жұмыскерлердің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жылдық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саны 100 ден 250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адамға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дейінгі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ірі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кәсіпкерлік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субъектілері</a:t>
            </a:r>
            <a:endParaRPr lang="ru-RU" sz="8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59">
            <a:extLst>
              <a:ext uri="{FF2B5EF4-FFF2-40B4-BE49-F238E27FC236}">
                <a16:creationId xmlns:a16="http://schemas.microsoft.com/office/drawing/2014/main" id="{0E1F6C0A-4A8E-A065-8717-4DFD92CC7E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767" y="5224831"/>
            <a:ext cx="2279054" cy="540620"/>
          </a:xfrm>
          <a:prstGeom prst="rect">
            <a:avLst/>
          </a:prstGeom>
          <a:noFill/>
          <a:ln>
            <a:solidFill>
              <a:srgbClr val="44517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Жұмыскерлердің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жылдық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саны 100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адамнан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аспайтын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шағын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кәсіпкерлік</a:t>
            </a:r>
            <a:r>
              <a:rPr lang="ru-RU" sz="8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anose="020B0604020202020204" pitchFamily="34" charset="0"/>
              </a:rPr>
              <a:t>субъектілері</a:t>
            </a:r>
            <a:endParaRPr lang="ru-RU" sz="8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Левая фигурная скобка 13">
            <a:extLst>
              <a:ext uri="{FF2B5EF4-FFF2-40B4-BE49-F238E27FC236}">
                <a16:creationId xmlns:a16="http://schemas.microsoft.com/office/drawing/2014/main" id="{808225AD-AFF7-04C9-C448-516E0D5FB7A0}"/>
              </a:ext>
            </a:extLst>
          </p:cNvPr>
          <p:cNvSpPr/>
          <p:nvPr/>
        </p:nvSpPr>
        <p:spPr>
          <a:xfrm rot="5400000">
            <a:off x="2003046" y="1526779"/>
            <a:ext cx="180000" cy="2880000"/>
          </a:xfrm>
          <a:prstGeom prst="leftBrace">
            <a:avLst/>
          </a:prstGeom>
          <a:ln w="19050">
            <a:solidFill>
              <a:srgbClr val="445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Левая фигурная скобка 14">
            <a:extLst>
              <a:ext uri="{FF2B5EF4-FFF2-40B4-BE49-F238E27FC236}">
                <a16:creationId xmlns:a16="http://schemas.microsoft.com/office/drawing/2014/main" id="{0973EF77-116C-822A-D78C-88DCC4A8119C}"/>
              </a:ext>
            </a:extLst>
          </p:cNvPr>
          <p:cNvSpPr/>
          <p:nvPr/>
        </p:nvSpPr>
        <p:spPr>
          <a:xfrm rot="16200000" flipV="1">
            <a:off x="1971927" y="2436755"/>
            <a:ext cx="180000" cy="2880000"/>
          </a:xfrm>
          <a:prstGeom prst="leftBrace">
            <a:avLst/>
          </a:prstGeom>
          <a:ln w="19050">
            <a:solidFill>
              <a:srgbClr val="445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61">
            <a:extLst>
              <a:ext uri="{FF2B5EF4-FFF2-40B4-BE49-F238E27FC236}">
                <a16:creationId xmlns:a16="http://schemas.microsoft.com/office/drawing/2014/main" id="{5151357F-8178-7CC4-89D5-0D24E56E52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981" y="1328738"/>
            <a:ext cx="3919309" cy="57708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5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ЕҚжҚ</a:t>
            </a:r>
            <a:r>
              <a:rPr lang="ru-RU" altLang="ru-RU" sz="1050" b="1" dirty="0">
                <a:latin typeface="Century Gothic" panose="020B0502020202020204" pitchFamily="34" charset="0"/>
                <a:cs typeface="Arial" panose="020B0604020202020204" pitchFamily="34" charset="0"/>
              </a:rPr>
              <a:t>  БОЙЫНША БАСШЫЛАРДЫҢ ЖӘНЕ ЖАУАПТЫ АДАМДАРДЫҢ ЕҢБЕКТІ ҚОРҒАУ ЖӨНІНДЕГІ БІЛІКТІЛІГІН МІНДЕТТІ МЕРЗІМДІК АРТТЫРУ</a:t>
            </a:r>
          </a:p>
        </p:txBody>
      </p:sp>
      <p:sp>
        <p:nvSpPr>
          <p:cNvPr id="23" name="TextBox 61">
            <a:extLst>
              <a:ext uri="{FF2B5EF4-FFF2-40B4-BE49-F238E27FC236}">
                <a16:creationId xmlns:a16="http://schemas.microsoft.com/office/drawing/2014/main" id="{FEE4DD26-B0C8-65E6-2CAB-5FAB46251A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4928" y="762000"/>
            <a:ext cx="286226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Й БОЛАДЫ</a:t>
            </a:r>
          </a:p>
        </p:txBody>
      </p:sp>
      <p:sp>
        <p:nvSpPr>
          <p:cNvPr id="155" name="Прямоугольник: скругленные углы 27">
            <a:extLst>
              <a:ext uri="{FF2B5EF4-FFF2-40B4-BE49-F238E27FC236}">
                <a16:creationId xmlns:a16="http://schemas.microsoft.com/office/drawing/2014/main" id="{D3BFA562-9EB8-5B39-D976-D6332157E14B}"/>
              </a:ext>
            </a:extLst>
          </p:cNvPr>
          <p:cNvSpPr/>
          <p:nvPr/>
        </p:nvSpPr>
        <p:spPr>
          <a:xfrm>
            <a:off x="4660258" y="1080780"/>
            <a:ext cx="7379341" cy="5524558"/>
          </a:xfrm>
          <a:prstGeom prst="roundRect">
            <a:avLst>
              <a:gd name="adj" fmla="val 2421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00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Rectangle 59">
            <a:extLst>
              <a:ext uri="{FF2B5EF4-FFF2-40B4-BE49-F238E27FC236}">
                <a16:creationId xmlns:a16="http://schemas.microsoft.com/office/drawing/2014/main" id="{E93CE272-C48A-D3E9-62BB-6C60F61ADB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1671" y="1239209"/>
            <a:ext cx="1898517" cy="309746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10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ОҚУ ОРТАЛЫҚТАРЫНДА ОҚЫТУ</a:t>
            </a:r>
            <a:endParaRPr kumimoji="0" lang="ru-RU" altLang="ru-RU" sz="10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Rectangle 59">
            <a:extLst>
              <a:ext uri="{FF2B5EF4-FFF2-40B4-BE49-F238E27FC236}">
                <a16:creationId xmlns:a16="http://schemas.microsoft.com/office/drawing/2014/main" id="{6ECCB61D-CCEB-A25B-458E-B1B5E06AFF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15945" y="3014740"/>
            <a:ext cx="2119446" cy="435844"/>
          </a:xfrm>
          <a:prstGeom prst="rect">
            <a:avLst/>
          </a:prstGeom>
          <a:noFill/>
          <a:ln w="28575">
            <a:solidFill>
              <a:srgbClr val="295E7E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10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іліктілікті</a:t>
            </a:r>
            <a:r>
              <a:rPr lang="ru-RU" alt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оғарылату</a:t>
            </a:r>
            <a:endParaRPr lang="ru-RU" altLang="ru-RU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b="1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уралы</a:t>
            </a:r>
            <a:r>
              <a:rPr lang="ru-RU" alt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Сертификат</a:t>
            </a:r>
          </a:p>
        </p:txBody>
      </p:sp>
      <p:sp>
        <p:nvSpPr>
          <p:cNvPr id="91" name="Rectangle 59">
            <a:extLst>
              <a:ext uri="{FF2B5EF4-FFF2-40B4-BE49-F238E27FC236}">
                <a16:creationId xmlns:a16="http://schemas.microsoft.com/office/drawing/2014/main" id="{C8776ABA-7EE8-0C2B-5DB3-8210D7CB7F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11348" y="2101708"/>
            <a:ext cx="682805" cy="25903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34286" tIns="0" rIns="34286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9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Тапсырды</a:t>
            </a:r>
            <a:endParaRPr lang="ru-RU" altLang="ru-RU" sz="900" b="1" kern="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Rectangle 59">
            <a:extLst>
              <a:ext uri="{FF2B5EF4-FFF2-40B4-BE49-F238E27FC236}">
                <a16:creationId xmlns:a16="http://schemas.microsoft.com/office/drawing/2014/main" id="{C14EB5D8-A280-4B43-B297-711C6459D7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1266" y="2088103"/>
            <a:ext cx="739159" cy="25903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lIns="34286" tIns="0" rIns="34286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870875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9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Тапсырған</a:t>
            </a:r>
            <a:r>
              <a:rPr lang="ru-RU" altLang="ru-RU" sz="9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жоқ</a:t>
            </a:r>
            <a:endParaRPr lang="ru-RU" altLang="ru-RU" sz="900" b="1" kern="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Rectangle 59">
            <a:extLst>
              <a:ext uri="{FF2B5EF4-FFF2-40B4-BE49-F238E27FC236}">
                <a16:creationId xmlns:a16="http://schemas.microsoft.com/office/drawing/2014/main" id="{D11F6AA7-6378-0C67-5A43-8E5A6D7C7B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6322" y="1307713"/>
            <a:ext cx="1837558" cy="405167"/>
          </a:xfrm>
          <a:prstGeom prst="rect">
            <a:avLst/>
          </a:prstGeom>
          <a:solidFill>
            <a:schemeClr val="bg1"/>
          </a:solidFill>
          <a:ln w="28575">
            <a:solidFill>
              <a:srgbClr val="295E7E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05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БІЛІМДІ ОРТАЛЫҚТАНДЫРЫЛҒАН ТЕКСЕРУ</a:t>
            </a:r>
          </a:p>
        </p:txBody>
      </p:sp>
      <p:sp>
        <p:nvSpPr>
          <p:cNvPr id="94" name="Rectangle 59">
            <a:extLst>
              <a:ext uri="{FF2B5EF4-FFF2-40B4-BE49-F238E27FC236}">
                <a16:creationId xmlns:a16="http://schemas.microsoft.com/office/drawing/2014/main" id="{92756E56-3195-7268-56A2-5FB391B419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03719" y="3760801"/>
            <a:ext cx="1510311" cy="701547"/>
          </a:xfrm>
          <a:prstGeom prst="rect">
            <a:avLst/>
          </a:prstGeom>
          <a:noFill/>
          <a:ln w="28575">
            <a:solidFill>
              <a:schemeClr val="accent1">
                <a:lumMod val="50000"/>
              </a:schemeClr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sz="1000" b="1" i="1" kern="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ОӘО </a:t>
            </a:r>
            <a:r>
              <a:rPr lang="ru-RU" sz="1000" b="1" i="1" kern="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ізбелерді</a:t>
            </a:r>
            <a:endParaRPr lang="ru-RU" altLang="ru-RU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8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ЕҚ </a:t>
            </a:r>
            <a:r>
              <a:rPr lang="ru-RU" altLang="ru-RU" sz="8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8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сертификатталған</a:t>
            </a:r>
            <a:r>
              <a:rPr lang="ru-RU" altLang="ru-RU" sz="8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Дәріскерлер</a:t>
            </a:r>
            <a:r>
              <a:rPr lang="ru-RU" altLang="ru-RU" sz="8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/ </a:t>
            </a:r>
            <a:r>
              <a:rPr lang="ru-RU" altLang="ru-RU" sz="8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тұлғалар</a:t>
            </a:r>
            <a:endParaRPr lang="ru-RU" altLang="ru-RU" sz="800" b="1" kern="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sz="900" b="1" i="1" kern="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алыптастырады</a:t>
            </a:r>
            <a:endParaRPr lang="ru-RU" altLang="ru-RU" sz="800" b="1" kern="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5" name="Соединительная линия уступом 65">
            <a:extLst>
              <a:ext uri="{FF2B5EF4-FFF2-40B4-BE49-F238E27FC236}">
                <a16:creationId xmlns:a16="http://schemas.microsoft.com/office/drawing/2014/main" id="{07C47DA4-391F-9FD5-E20F-583BD95CFE37}"/>
              </a:ext>
            </a:extLst>
          </p:cNvPr>
          <p:cNvCxnSpPr>
            <a:cxnSpLocks/>
          </p:cNvCxnSpPr>
          <p:nvPr/>
        </p:nvCxnSpPr>
        <p:spPr>
          <a:xfrm rot="10800000" flipH="1">
            <a:off x="9840893" y="1602473"/>
            <a:ext cx="59775" cy="649469"/>
          </a:xfrm>
          <a:prstGeom prst="bentConnector4">
            <a:avLst>
              <a:gd name="adj1" fmla="val -164843"/>
              <a:gd name="adj2" fmla="val 101129"/>
            </a:avLst>
          </a:prstGeom>
          <a:ln>
            <a:solidFill>
              <a:srgbClr val="44546A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D43FA2BA-73D3-AC73-0369-6A17A5BB93C4}"/>
              </a:ext>
            </a:extLst>
          </p:cNvPr>
          <p:cNvSpPr/>
          <p:nvPr/>
        </p:nvSpPr>
        <p:spPr>
          <a:xfrm>
            <a:off x="8773210" y="1831072"/>
            <a:ext cx="971705" cy="338554"/>
          </a:xfrm>
          <a:prstGeom prst="rect">
            <a:avLst/>
          </a:prstGeom>
          <a:ln>
            <a:solidFill>
              <a:srgbClr val="44546A"/>
            </a:solidFill>
            <a:prstDash val="dash"/>
          </a:ln>
        </p:spPr>
        <p:txBody>
          <a:bodyPr wrap="square">
            <a:spAutoFit/>
          </a:bodyPr>
          <a:lstStyle/>
          <a:p>
            <a:pPr>
              <a:spcAft>
                <a:spcPts val="571"/>
              </a:spcAft>
            </a:pPr>
            <a:r>
              <a:rPr lang="ru-RU" sz="800" dirty="0" err="1">
                <a:latin typeface="Century Gothic" panose="020B0502020202020204" pitchFamily="34" charset="0"/>
                <a:cs typeface="Arial" pitchFamily="34" charset="0"/>
              </a:rPr>
              <a:t>Бір</a:t>
            </a:r>
            <a:r>
              <a:rPr lang="ru-RU" sz="800" dirty="0">
                <a:latin typeface="Century Gothic" panose="020B0502020202020204" pitchFamily="34" charset="0"/>
                <a:cs typeface="Arial" pitchFamily="34" charset="0"/>
              </a:rPr>
              <a:t> ай </a:t>
            </a:r>
            <a:r>
              <a:rPr lang="ru-RU" sz="800" dirty="0" err="1">
                <a:latin typeface="Century Gothic" panose="020B0502020202020204" pitchFamily="34" charset="0"/>
                <a:cs typeface="Arial" pitchFamily="34" charset="0"/>
              </a:rPr>
              <a:t>ішінде</a:t>
            </a:r>
            <a:r>
              <a:rPr lang="ru-RU" sz="8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itchFamily="34" charset="0"/>
              </a:rPr>
              <a:t>қайта</a:t>
            </a:r>
            <a:r>
              <a:rPr lang="ru-RU" sz="8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  <a:cs typeface="Arial" pitchFamily="34" charset="0"/>
              </a:rPr>
              <a:t>тексеру</a:t>
            </a:r>
            <a:endParaRPr lang="ru-RU" sz="800" dirty="0"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97" name="Google Shape;89;p7">
            <a:extLst>
              <a:ext uri="{FF2B5EF4-FFF2-40B4-BE49-F238E27FC236}">
                <a16:creationId xmlns:a16="http://schemas.microsoft.com/office/drawing/2014/main" id="{A94603C9-3916-A5CD-5A3B-4451AEC5D607}"/>
              </a:ext>
            </a:extLst>
          </p:cNvPr>
          <p:cNvSpPr/>
          <p:nvPr/>
        </p:nvSpPr>
        <p:spPr>
          <a:xfrm>
            <a:off x="11076008" y="3105349"/>
            <a:ext cx="168511" cy="254844"/>
          </a:xfrm>
          <a:custGeom>
            <a:avLst/>
            <a:gdLst/>
            <a:ahLst/>
            <a:cxnLst/>
            <a:rect l="l" t="t" r="r" b="b"/>
            <a:pathLst>
              <a:path w="6762" h="8902" extrusionOk="0">
                <a:moveTo>
                  <a:pt x="1305" y="1092"/>
                </a:moveTo>
                <a:lnTo>
                  <a:pt x="1348" y="1135"/>
                </a:lnTo>
                <a:lnTo>
                  <a:pt x="1477" y="1263"/>
                </a:lnTo>
                <a:lnTo>
                  <a:pt x="1562" y="1434"/>
                </a:lnTo>
                <a:lnTo>
                  <a:pt x="1584" y="1499"/>
                </a:lnTo>
                <a:lnTo>
                  <a:pt x="1562" y="1541"/>
                </a:lnTo>
                <a:lnTo>
                  <a:pt x="1541" y="1541"/>
                </a:lnTo>
                <a:lnTo>
                  <a:pt x="1477" y="1520"/>
                </a:lnTo>
                <a:lnTo>
                  <a:pt x="1348" y="1370"/>
                </a:lnTo>
                <a:lnTo>
                  <a:pt x="1284" y="1306"/>
                </a:lnTo>
                <a:lnTo>
                  <a:pt x="1241" y="1220"/>
                </a:lnTo>
                <a:lnTo>
                  <a:pt x="1241" y="1156"/>
                </a:lnTo>
                <a:lnTo>
                  <a:pt x="1241" y="1113"/>
                </a:lnTo>
                <a:lnTo>
                  <a:pt x="1263" y="1092"/>
                </a:lnTo>
                <a:close/>
                <a:moveTo>
                  <a:pt x="792" y="1734"/>
                </a:moveTo>
                <a:lnTo>
                  <a:pt x="856" y="1755"/>
                </a:lnTo>
                <a:lnTo>
                  <a:pt x="878" y="1798"/>
                </a:lnTo>
                <a:lnTo>
                  <a:pt x="899" y="1841"/>
                </a:lnTo>
                <a:lnTo>
                  <a:pt x="878" y="1862"/>
                </a:lnTo>
                <a:lnTo>
                  <a:pt x="856" y="1905"/>
                </a:lnTo>
                <a:lnTo>
                  <a:pt x="813" y="1905"/>
                </a:lnTo>
                <a:lnTo>
                  <a:pt x="749" y="1926"/>
                </a:lnTo>
                <a:lnTo>
                  <a:pt x="706" y="1905"/>
                </a:lnTo>
                <a:lnTo>
                  <a:pt x="685" y="1884"/>
                </a:lnTo>
                <a:lnTo>
                  <a:pt x="685" y="1841"/>
                </a:lnTo>
                <a:lnTo>
                  <a:pt x="728" y="1777"/>
                </a:lnTo>
                <a:lnTo>
                  <a:pt x="749" y="1755"/>
                </a:lnTo>
                <a:lnTo>
                  <a:pt x="792" y="1734"/>
                </a:lnTo>
                <a:close/>
                <a:moveTo>
                  <a:pt x="2910" y="1670"/>
                </a:moveTo>
                <a:lnTo>
                  <a:pt x="2846" y="1712"/>
                </a:lnTo>
                <a:lnTo>
                  <a:pt x="2760" y="1755"/>
                </a:lnTo>
                <a:lnTo>
                  <a:pt x="2718" y="1819"/>
                </a:lnTo>
                <a:lnTo>
                  <a:pt x="2675" y="1884"/>
                </a:lnTo>
                <a:lnTo>
                  <a:pt x="2675" y="1926"/>
                </a:lnTo>
                <a:lnTo>
                  <a:pt x="2696" y="1969"/>
                </a:lnTo>
                <a:lnTo>
                  <a:pt x="2932" y="1969"/>
                </a:lnTo>
                <a:lnTo>
                  <a:pt x="3081" y="1991"/>
                </a:lnTo>
                <a:lnTo>
                  <a:pt x="3231" y="2033"/>
                </a:lnTo>
                <a:lnTo>
                  <a:pt x="3317" y="2033"/>
                </a:lnTo>
                <a:lnTo>
                  <a:pt x="3381" y="2012"/>
                </a:lnTo>
                <a:lnTo>
                  <a:pt x="3702" y="1969"/>
                </a:lnTo>
                <a:lnTo>
                  <a:pt x="4023" y="1948"/>
                </a:lnTo>
                <a:lnTo>
                  <a:pt x="4237" y="1948"/>
                </a:lnTo>
                <a:lnTo>
                  <a:pt x="4451" y="1926"/>
                </a:lnTo>
                <a:lnTo>
                  <a:pt x="4879" y="1905"/>
                </a:lnTo>
                <a:lnTo>
                  <a:pt x="5135" y="1905"/>
                </a:lnTo>
                <a:lnTo>
                  <a:pt x="5199" y="1884"/>
                </a:lnTo>
                <a:lnTo>
                  <a:pt x="5242" y="1862"/>
                </a:lnTo>
                <a:lnTo>
                  <a:pt x="5242" y="1819"/>
                </a:lnTo>
                <a:lnTo>
                  <a:pt x="5199" y="1755"/>
                </a:lnTo>
                <a:lnTo>
                  <a:pt x="5135" y="1712"/>
                </a:lnTo>
                <a:lnTo>
                  <a:pt x="5050" y="1691"/>
                </a:lnTo>
                <a:lnTo>
                  <a:pt x="4836" y="1691"/>
                </a:lnTo>
                <a:lnTo>
                  <a:pt x="4451" y="1734"/>
                </a:lnTo>
                <a:lnTo>
                  <a:pt x="4237" y="1755"/>
                </a:lnTo>
                <a:lnTo>
                  <a:pt x="4044" y="1755"/>
                </a:lnTo>
                <a:lnTo>
                  <a:pt x="3616" y="1734"/>
                </a:lnTo>
                <a:lnTo>
                  <a:pt x="3531" y="1755"/>
                </a:lnTo>
                <a:lnTo>
                  <a:pt x="3424" y="1777"/>
                </a:lnTo>
                <a:lnTo>
                  <a:pt x="3317" y="1798"/>
                </a:lnTo>
                <a:lnTo>
                  <a:pt x="3231" y="1798"/>
                </a:lnTo>
                <a:lnTo>
                  <a:pt x="3167" y="1777"/>
                </a:lnTo>
                <a:lnTo>
                  <a:pt x="3103" y="1734"/>
                </a:lnTo>
                <a:lnTo>
                  <a:pt x="3060" y="1691"/>
                </a:lnTo>
                <a:lnTo>
                  <a:pt x="2996" y="1670"/>
                </a:lnTo>
                <a:close/>
                <a:moveTo>
                  <a:pt x="4707" y="2654"/>
                </a:moveTo>
                <a:lnTo>
                  <a:pt x="4451" y="2675"/>
                </a:lnTo>
                <a:lnTo>
                  <a:pt x="4279" y="2697"/>
                </a:lnTo>
                <a:lnTo>
                  <a:pt x="3809" y="2739"/>
                </a:lnTo>
                <a:lnTo>
                  <a:pt x="3573" y="2761"/>
                </a:lnTo>
                <a:lnTo>
                  <a:pt x="3359" y="2761"/>
                </a:lnTo>
                <a:lnTo>
                  <a:pt x="3124" y="2739"/>
                </a:lnTo>
                <a:lnTo>
                  <a:pt x="2910" y="2697"/>
                </a:lnTo>
                <a:lnTo>
                  <a:pt x="2803" y="2675"/>
                </a:lnTo>
                <a:lnTo>
                  <a:pt x="2696" y="2697"/>
                </a:lnTo>
                <a:lnTo>
                  <a:pt x="2482" y="2718"/>
                </a:lnTo>
                <a:lnTo>
                  <a:pt x="2397" y="2697"/>
                </a:lnTo>
                <a:lnTo>
                  <a:pt x="2290" y="2675"/>
                </a:lnTo>
                <a:lnTo>
                  <a:pt x="2097" y="2675"/>
                </a:lnTo>
                <a:lnTo>
                  <a:pt x="2033" y="2718"/>
                </a:lnTo>
                <a:lnTo>
                  <a:pt x="1990" y="2761"/>
                </a:lnTo>
                <a:lnTo>
                  <a:pt x="1969" y="2825"/>
                </a:lnTo>
                <a:lnTo>
                  <a:pt x="1990" y="2846"/>
                </a:lnTo>
                <a:lnTo>
                  <a:pt x="2012" y="2868"/>
                </a:lnTo>
                <a:lnTo>
                  <a:pt x="2140" y="2889"/>
                </a:lnTo>
                <a:lnTo>
                  <a:pt x="2247" y="2911"/>
                </a:lnTo>
                <a:lnTo>
                  <a:pt x="2504" y="2932"/>
                </a:lnTo>
                <a:lnTo>
                  <a:pt x="2974" y="2932"/>
                </a:lnTo>
                <a:lnTo>
                  <a:pt x="3210" y="2953"/>
                </a:lnTo>
                <a:lnTo>
                  <a:pt x="3424" y="2953"/>
                </a:lnTo>
                <a:lnTo>
                  <a:pt x="3873" y="2932"/>
                </a:lnTo>
                <a:lnTo>
                  <a:pt x="4322" y="2889"/>
                </a:lnTo>
                <a:lnTo>
                  <a:pt x="5028" y="2889"/>
                </a:lnTo>
                <a:lnTo>
                  <a:pt x="5093" y="2868"/>
                </a:lnTo>
                <a:lnTo>
                  <a:pt x="5135" y="2846"/>
                </a:lnTo>
                <a:lnTo>
                  <a:pt x="5135" y="2804"/>
                </a:lnTo>
                <a:lnTo>
                  <a:pt x="5114" y="2739"/>
                </a:lnTo>
                <a:lnTo>
                  <a:pt x="5050" y="2697"/>
                </a:lnTo>
                <a:lnTo>
                  <a:pt x="4943" y="2675"/>
                </a:lnTo>
                <a:lnTo>
                  <a:pt x="4707" y="2654"/>
                </a:lnTo>
                <a:close/>
                <a:moveTo>
                  <a:pt x="3295" y="3424"/>
                </a:moveTo>
                <a:lnTo>
                  <a:pt x="3060" y="3467"/>
                </a:lnTo>
                <a:lnTo>
                  <a:pt x="2825" y="3531"/>
                </a:lnTo>
                <a:lnTo>
                  <a:pt x="2568" y="3574"/>
                </a:lnTo>
                <a:lnTo>
                  <a:pt x="2461" y="3595"/>
                </a:lnTo>
                <a:lnTo>
                  <a:pt x="2332" y="3574"/>
                </a:lnTo>
                <a:lnTo>
                  <a:pt x="2119" y="3531"/>
                </a:lnTo>
                <a:lnTo>
                  <a:pt x="1905" y="3531"/>
                </a:lnTo>
                <a:lnTo>
                  <a:pt x="1840" y="3553"/>
                </a:lnTo>
                <a:lnTo>
                  <a:pt x="1776" y="3595"/>
                </a:lnTo>
                <a:lnTo>
                  <a:pt x="1755" y="3617"/>
                </a:lnTo>
                <a:lnTo>
                  <a:pt x="1755" y="3638"/>
                </a:lnTo>
                <a:lnTo>
                  <a:pt x="1776" y="3681"/>
                </a:lnTo>
                <a:lnTo>
                  <a:pt x="1819" y="3702"/>
                </a:lnTo>
                <a:lnTo>
                  <a:pt x="1926" y="3766"/>
                </a:lnTo>
                <a:lnTo>
                  <a:pt x="2033" y="3788"/>
                </a:lnTo>
                <a:lnTo>
                  <a:pt x="2140" y="3831"/>
                </a:lnTo>
                <a:lnTo>
                  <a:pt x="2482" y="3831"/>
                </a:lnTo>
                <a:lnTo>
                  <a:pt x="2718" y="3788"/>
                </a:lnTo>
                <a:lnTo>
                  <a:pt x="3167" y="3681"/>
                </a:lnTo>
                <a:lnTo>
                  <a:pt x="3402" y="3659"/>
                </a:lnTo>
                <a:lnTo>
                  <a:pt x="3638" y="3638"/>
                </a:lnTo>
                <a:lnTo>
                  <a:pt x="3894" y="3659"/>
                </a:lnTo>
                <a:lnTo>
                  <a:pt x="4001" y="3681"/>
                </a:lnTo>
                <a:lnTo>
                  <a:pt x="4130" y="3681"/>
                </a:lnTo>
                <a:lnTo>
                  <a:pt x="4365" y="3638"/>
                </a:lnTo>
                <a:lnTo>
                  <a:pt x="4472" y="3638"/>
                </a:lnTo>
                <a:lnTo>
                  <a:pt x="4579" y="3659"/>
                </a:lnTo>
                <a:lnTo>
                  <a:pt x="4814" y="3745"/>
                </a:lnTo>
                <a:lnTo>
                  <a:pt x="4986" y="3745"/>
                </a:lnTo>
                <a:lnTo>
                  <a:pt x="5050" y="3702"/>
                </a:lnTo>
                <a:lnTo>
                  <a:pt x="5093" y="3659"/>
                </a:lnTo>
                <a:lnTo>
                  <a:pt x="5114" y="3595"/>
                </a:lnTo>
                <a:lnTo>
                  <a:pt x="5114" y="3553"/>
                </a:lnTo>
                <a:lnTo>
                  <a:pt x="5071" y="3488"/>
                </a:lnTo>
                <a:lnTo>
                  <a:pt x="4986" y="3467"/>
                </a:lnTo>
                <a:lnTo>
                  <a:pt x="4729" y="3467"/>
                </a:lnTo>
                <a:lnTo>
                  <a:pt x="4515" y="3424"/>
                </a:lnTo>
                <a:lnTo>
                  <a:pt x="4301" y="3424"/>
                </a:lnTo>
                <a:lnTo>
                  <a:pt x="4044" y="3446"/>
                </a:lnTo>
                <a:lnTo>
                  <a:pt x="3809" y="3424"/>
                </a:lnTo>
                <a:close/>
                <a:moveTo>
                  <a:pt x="2632" y="4237"/>
                </a:moveTo>
                <a:lnTo>
                  <a:pt x="2397" y="4259"/>
                </a:lnTo>
                <a:lnTo>
                  <a:pt x="1947" y="4366"/>
                </a:lnTo>
                <a:lnTo>
                  <a:pt x="1776" y="4430"/>
                </a:lnTo>
                <a:lnTo>
                  <a:pt x="1648" y="4515"/>
                </a:lnTo>
                <a:lnTo>
                  <a:pt x="1626" y="4558"/>
                </a:lnTo>
                <a:lnTo>
                  <a:pt x="1626" y="4580"/>
                </a:lnTo>
                <a:lnTo>
                  <a:pt x="1712" y="4601"/>
                </a:lnTo>
                <a:lnTo>
                  <a:pt x="1840" y="4601"/>
                </a:lnTo>
                <a:lnTo>
                  <a:pt x="2119" y="4580"/>
                </a:lnTo>
                <a:lnTo>
                  <a:pt x="2375" y="4537"/>
                </a:lnTo>
                <a:lnTo>
                  <a:pt x="2653" y="4494"/>
                </a:lnTo>
                <a:lnTo>
                  <a:pt x="2932" y="4494"/>
                </a:lnTo>
                <a:lnTo>
                  <a:pt x="3188" y="4537"/>
                </a:lnTo>
                <a:lnTo>
                  <a:pt x="3295" y="4558"/>
                </a:lnTo>
                <a:lnTo>
                  <a:pt x="3424" y="4558"/>
                </a:lnTo>
                <a:lnTo>
                  <a:pt x="3680" y="4494"/>
                </a:lnTo>
                <a:lnTo>
                  <a:pt x="3809" y="4473"/>
                </a:lnTo>
                <a:lnTo>
                  <a:pt x="3937" y="4515"/>
                </a:lnTo>
                <a:lnTo>
                  <a:pt x="4108" y="4558"/>
                </a:lnTo>
                <a:lnTo>
                  <a:pt x="4536" y="4558"/>
                </a:lnTo>
                <a:lnTo>
                  <a:pt x="4729" y="4537"/>
                </a:lnTo>
                <a:lnTo>
                  <a:pt x="4814" y="4515"/>
                </a:lnTo>
                <a:lnTo>
                  <a:pt x="4921" y="4494"/>
                </a:lnTo>
                <a:lnTo>
                  <a:pt x="4964" y="4473"/>
                </a:lnTo>
                <a:lnTo>
                  <a:pt x="5007" y="4451"/>
                </a:lnTo>
                <a:lnTo>
                  <a:pt x="5007" y="4408"/>
                </a:lnTo>
                <a:lnTo>
                  <a:pt x="5007" y="4366"/>
                </a:lnTo>
                <a:lnTo>
                  <a:pt x="4986" y="4323"/>
                </a:lnTo>
                <a:lnTo>
                  <a:pt x="4943" y="4301"/>
                </a:lnTo>
                <a:lnTo>
                  <a:pt x="4836" y="4280"/>
                </a:lnTo>
                <a:lnTo>
                  <a:pt x="4386" y="4280"/>
                </a:lnTo>
                <a:lnTo>
                  <a:pt x="4151" y="4259"/>
                </a:lnTo>
                <a:lnTo>
                  <a:pt x="3937" y="4237"/>
                </a:lnTo>
                <a:lnTo>
                  <a:pt x="3702" y="4237"/>
                </a:lnTo>
                <a:lnTo>
                  <a:pt x="3488" y="4280"/>
                </a:lnTo>
                <a:lnTo>
                  <a:pt x="3402" y="4323"/>
                </a:lnTo>
                <a:lnTo>
                  <a:pt x="3188" y="4323"/>
                </a:lnTo>
                <a:lnTo>
                  <a:pt x="3081" y="4301"/>
                </a:lnTo>
                <a:lnTo>
                  <a:pt x="2867" y="4237"/>
                </a:lnTo>
                <a:close/>
                <a:moveTo>
                  <a:pt x="2268" y="5050"/>
                </a:moveTo>
                <a:lnTo>
                  <a:pt x="2140" y="5072"/>
                </a:lnTo>
                <a:lnTo>
                  <a:pt x="2033" y="5114"/>
                </a:lnTo>
                <a:lnTo>
                  <a:pt x="1926" y="5157"/>
                </a:lnTo>
                <a:lnTo>
                  <a:pt x="1819" y="5200"/>
                </a:lnTo>
                <a:lnTo>
                  <a:pt x="1584" y="5200"/>
                </a:lnTo>
                <a:lnTo>
                  <a:pt x="1562" y="5221"/>
                </a:lnTo>
                <a:lnTo>
                  <a:pt x="1562" y="5243"/>
                </a:lnTo>
                <a:lnTo>
                  <a:pt x="1584" y="5264"/>
                </a:lnTo>
                <a:lnTo>
                  <a:pt x="1605" y="5307"/>
                </a:lnTo>
                <a:lnTo>
                  <a:pt x="1691" y="5328"/>
                </a:lnTo>
                <a:lnTo>
                  <a:pt x="1798" y="5328"/>
                </a:lnTo>
                <a:lnTo>
                  <a:pt x="1926" y="5307"/>
                </a:lnTo>
                <a:lnTo>
                  <a:pt x="2161" y="5243"/>
                </a:lnTo>
                <a:lnTo>
                  <a:pt x="2268" y="5221"/>
                </a:lnTo>
                <a:lnTo>
                  <a:pt x="2332" y="5221"/>
                </a:lnTo>
                <a:lnTo>
                  <a:pt x="2546" y="5264"/>
                </a:lnTo>
                <a:lnTo>
                  <a:pt x="2653" y="5286"/>
                </a:lnTo>
                <a:lnTo>
                  <a:pt x="2760" y="5286"/>
                </a:lnTo>
                <a:lnTo>
                  <a:pt x="2974" y="5243"/>
                </a:lnTo>
                <a:lnTo>
                  <a:pt x="3124" y="5200"/>
                </a:lnTo>
                <a:lnTo>
                  <a:pt x="3188" y="5179"/>
                </a:lnTo>
                <a:lnTo>
                  <a:pt x="3146" y="5136"/>
                </a:lnTo>
                <a:lnTo>
                  <a:pt x="3081" y="5093"/>
                </a:lnTo>
                <a:lnTo>
                  <a:pt x="2910" y="5093"/>
                </a:lnTo>
                <a:lnTo>
                  <a:pt x="2782" y="5114"/>
                </a:lnTo>
                <a:lnTo>
                  <a:pt x="2653" y="5136"/>
                </a:lnTo>
                <a:lnTo>
                  <a:pt x="2568" y="5114"/>
                </a:lnTo>
                <a:lnTo>
                  <a:pt x="2461" y="5093"/>
                </a:lnTo>
                <a:lnTo>
                  <a:pt x="2375" y="5072"/>
                </a:lnTo>
                <a:lnTo>
                  <a:pt x="2268" y="5050"/>
                </a:lnTo>
                <a:close/>
                <a:moveTo>
                  <a:pt x="4515" y="6034"/>
                </a:moveTo>
                <a:lnTo>
                  <a:pt x="4558" y="6120"/>
                </a:lnTo>
                <a:lnTo>
                  <a:pt x="4579" y="6270"/>
                </a:lnTo>
                <a:lnTo>
                  <a:pt x="4579" y="6313"/>
                </a:lnTo>
                <a:lnTo>
                  <a:pt x="4558" y="6377"/>
                </a:lnTo>
                <a:lnTo>
                  <a:pt x="4536" y="6398"/>
                </a:lnTo>
                <a:lnTo>
                  <a:pt x="4451" y="6398"/>
                </a:lnTo>
                <a:lnTo>
                  <a:pt x="4429" y="6377"/>
                </a:lnTo>
                <a:lnTo>
                  <a:pt x="4408" y="6334"/>
                </a:lnTo>
                <a:lnTo>
                  <a:pt x="4451" y="6206"/>
                </a:lnTo>
                <a:lnTo>
                  <a:pt x="4493" y="6077"/>
                </a:lnTo>
                <a:lnTo>
                  <a:pt x="4515" y="6034"/>
                </a:lnTo>
                <a:close/>
                <a:moveTo>
                  <a:pt x="5627" y="5478"/>
                </a:moveTo>
                <a:lnTo>
                  <a:pt x="5585" y="5500"/>
                </a:lnTo>
                <a:lnTo>
                  <a:pt x="5520" y="5542"/>
                </a:lnTo>
                <a:lnTo>
                  <a:pt x="5478" y="5606"/>
                </a:lnTo>
                <a:lnTo>
                  <a:pt x="5478" y="5692"/>
                </a:lnTo>
                <a:lnTo>
                  <a:pt x="5478" y="5756"/>
                </a:lnTo>
                <a:lnTo>
                  <a:pt x="5478" y="5842"/>
                </a:lnTo>
                <a:lnTo>
                  <a:pt x="5499" y="5992"/>
                </a:lnTo>
                <a:lnTo>
                  <a:pt x="5499" y="6077"/>
                </a:lnTo>
                <a:lnTo>
                  <a:pt x="5478" y="6141"/>
                </a:lnTo>
                <a:lnTo>
                  <a:pt x="5435" y="6184"/>
                </a:lnTo>
                <a:lnTo>
                  <a:pt x="5392" y="6227"/>
                </a:lnTo>
                <a:lnTo>
                  <a:pt x="5306" y="6291"/>
                </a:lnTo>
                <a:lnTo>
                  <a:pt x="5264" y="6313"/>
                </a:lnTo>
                <a:lnTo>
                  <a:pt x="5242" y="6355"/>
                </a:lnTo>
                <a:lnTo>
                  <a:pt x="5242" y="6420"/>
                </a:lnTo>
                <a:lnTo>
                  <a:pt x="5264" y="6484"/>
                </a:lnTo>
                <a:lnTo>
                  <a:pt x="5306" y="6527"/>
                </a:lnTo>
                <a:lnTo>
                  <a:pt x="5371" y="6548"/>
                </a:lnTo>
                <a:lnTo>
                  <a:pt x="5435" y="6569"/>
                </a:lnTo>
                <a:lnTo>
                  <a:pt x="5499" y="6591"/>
                </a:lnTo>
                <a:lnTo>
                  <a:pt x="5542" y="6655"/>
                </a:lnTo>
                <a:lnTo>
                  <a:pt x="5563" y="6698"/>
                </a:lnTo>
                <a:lnTo>
                  <a:pt x="5563" y="6762"/>
                </a:lnTo>
                <a:lnTo>
                  <a:pt x="5606" y="6826"/>
                </a:lnTo>
                <a:lnTo>
                  <a:pt x="5649" y="6869"/>
                </a:lnTo>
                <a:lnTo>
                  <a:pt x="5692" y="6890"/>
                </a:lnTo>
                <a:lnTo>
                  <a:pt x="5734" y="6912"/>
                </a:lnTo>
                <a:lnTo>
                  <a:pt x="5820" y="6912"/>
                </a:lnTo>
                <a:lnTo>
                  <a:pt x="5863" y="6869"/>
                </a:lnTo>
                <a:lnTo>
                  <a:pt x="5906" y="6826"/>
                </a:lnTo>
                <a:lnTo>
                  <a:pt x="5927" y="6783"/>
                </a:lnTo>
                <a:lnTo>
                  <a:pt x="5948" y="6698"/>
                </a:lnTo>
                <a:lnTo>
                  <a:pt x="5927" y="6633"/>
                </a:lnTo>
                <a:lnTo>
                  <a:pt x="5927" y="6548"/>
                </a:lnTo>
                <a:lnTo>
                  <a:pt x="5927" y="6462"/>
                </a:lnTo>
                <a:lnTo>
                  <a:pt x="5970" y="6441"/>
                </a:lnTo>
                <a:lnTo>
                  <a:pt x="5991" y="6398"/>
                </a:lnTo>
                <a:lnTo>
                  <a:pt x="6077" y="6355"/>
                </a:lnTo>
                <a:lnTo>
                  <a:pt x="6141" y="6248"/>
                </a:lnTo>
                <a:lnTo>
                  <a:pt x="6162" y="6206"/>
                </a:lnTo>
                <a:lnTo>
                  <a:pt x="6162" y="6141"/>
                </a:lnTo>
                <a:lnTo>
                  <a:pt x="6141" y="6099"/>
                </a:lnTo>
                <a:lnTo>
                  <a:pt x="6120" y="6056"/>
                </a:lnTo>
                <a:lnTo>
                  <a:pt x="6055" y="6034"/>
                </a:lnTo>
                <a:lnTo>
                  <a:pt x="5991" y="6013"/>
                </a:lnTo>
                <a:lnTo>
                  <a:pt x="5884" y="5970"/>
                </a:lnTo>
                <a:lnTo>
                  <a:pt x="5863" y="5949"/>
                </a:lnTo>
                <a:lnTo>
                  <a:pt x="5841" y="5927"/>
                </a:lnTo>
                <a:lnTo>
                  <a:pt x="5820" y="5713"/>
                </a:lnTo>
                <a:lnTo>
                  <a:pt x="5777" y="5585"/>
                </a:lnTo>
                <a:lnTo>
                  <a:pt x="5713" y="5500"/>
                </a:lnTo>
                <a:lnTo>
                  <a:pt x="5670" y="5478"/>
                </a:lnTo>
                <a:close/>
                <a:moveTo>
                  <a:pt x="4408" y="5307"/>
                </a:moveTo>
                <a:lnTo>
                  <a:pt x="4344" y="5328"/>
                </a:lnTo>
                <a:lnTo>
                  <a:pt x="4301" y="5371"/>
                </a:lnTo>
                <a:lnTo>
                  <a:pt x="4258" y="5435"/>
                </a:lnTo>
                <a:lnTo>
                  <a:pt x="4194" y="5564"/>
                </a:lnTo>
                <a:lnTo>
                  <a:pt x="4151" y="5735"/>
                </a:lnTo>
                <a:lnTo>
                  <a:pt x="4108" y="6120"/>
                </a:lnTo>
                <a:lnTo>
                  <a:pt x="4087" y="6270"/>
                </a:lnTo>
                <a:lnTo>
                  <a:pt x="4066" y="6398"/>
                </a:lnTo>
                <a:lnTo>
                  <a:pt x="4023" y="6462"/>
                </a:lnTo>
                <a:lnTo>
                  <a:pt x="3980" y="6527"/>
                </a:lnTo>
                <a:lnTo>
                  <a:pt x="3894" y="6591"/>
                </a:lnTo>
                <a:lnTo>
                  <a:pt x="3787" y="6633"/>
                </a:lnTo>
                <a:lnTo>
                  <a:pt x="3723" y="6676"/>
                </a:lnTo>
                <a:lnTo>
                  <a:pt x="3680" y="6740"/>
                </a:lnTo>
                <a:lnTo>
                  <a:pt x="3659" y="6783"/>
                </a:lnTo>
                <a:lnTo>
                  <a:pt x="3638" y="6826"/>
                </a:lnTo>
                <a:lnTo>
                  <a:pt x="3638" y="6869"/>
                </a:lnTo>
                <a:lnTo>
                  <a:pt x="3659" y="6890"/>
                </a:lnTo>
                <a:lnTo>
                  <a:pt x="3723" y="6933"/>
                </a:lnTo>
                <a:lnTo>
                  <a:pt x="3787" y="6976"/>
                </a:lnTo>
                <a:lnTo>
                  <a:pt x="3852" y="7061"/>
                </a:lnTo>
                <a:lnTo>
                  <a:pt x="3873" y="7126"/>
                </a:lnTo>
                <a:lnTo>
                  <a:pt x="3873" y="7190"/>
                </a:lnTo>
                <a:lnTo>
                  <a:pt x="3830" y="7318"/>
                </a:lnTo>
                <a:lnTo>
                  <a:pt x="3809" y="7425"/>
                </a:lnTo>
                <a:lnTo>
                  <a:pt x="3787" y="7554"/>
                </a:lnTo>
                <a:lnTo>
                  <a:pt x="3787" y="7618"/>
                </a:lnTo>
                <a:lnTo>
                  <a:pt x="3787" y="7682"/>
                </a:lnTo>
                <a:lnTo>
                  <a:pt x="3830" y="7725"/>
                </a:lnTo>
                <a:lnTo>
                  <a:pt x="3873" y="7746"/>
                </a:lnTo>
                <a:lnTo>
                  <a:pt x="3980" y="7746"/>
                </a:lnTo>
                <a:lnTo>
                  <a:pt x="4087" y="7682"/>
                </a:lnTo>
                <a:lnTo>
                  <a:pt x="4172" y="7596"/>
                </a:lnTo>
                <a:lnTo>
                  <a:pt x="4237" y="7532"/>
                </a:lnTo>
                <a:lnTo>
                  <a:pt x="4279" y="7468"/>
                </a:lnTo>
                <a:lnTo>
                  <a:pt x="4279" y="7382"/>
                </a:lnTo>
                <a:lnTo>
                  <a:pt x="4301" y="7233"/>
                </a:lnTo>
                <a:lnTo>
                  <a:pt x="4301" y="7061"/>
                </a:lnTo>
                <a:lnTo>
                  <a:pt x="4322" y="6976"/>
                </a:lnTo>
                <a:lnTo>
                  <a:pt x="4365" y="6912"/>
                </a:lnTo>
                <a:lnTo>
                  <a:pt x="4451" y="6826"/>
                </a:lnTo>
                <a:lnTo>
                  <a:pt x="4558" y="6762"/>
                </a:lnTo>
                <a:lnTo>
                  <a:pt x="4600" y="6740"/>
                </a:lnTo>
                <a:lnTo>
                  <a:pt x="4665" y="6740"/>
                </a:lnTo>
                <a:lnTo>
                  <a:pt x="4707" y="6762"/>
                </a:lnTo>
                <a:lnTo>
                  <a:pt x="4772" y="6805"/>
                </a:lnTo>
                <a:lnTo>
                  <a:pt x="4793" y="6847"/>
                </a:lnTo>
                <a:lnTo>
                  <a:pt x="4836" y="6912"/>
                </a:lnTo>
                <a:lnTo>
                  <a:pt x="4857" y="7083"/>
                </a:lnTo>
                <a:lnTo>
                  <a:pt x="4900" y="7233"/>
                </a:lnTo>
                <a:lnTo>
                  <a:pt x="4943" y="7382"/>
                </a:lnTo>
                <a:lnTo>
                  <a:pt x="5007" y="7489"/>
                </a:lnTo>
                <a:lnTo>
                  <a:pt x="5028" y="7511"/>
                </a:lnTo>
                <a:lnTo>
                  <a:pt x="5071" y="7532"/>
                </a:lnTo>
                <a:lnTo>
                  <a:pt x="5135" y="7532"/>
                </a:lnTo>
                <a:lnTo>
                  <a:pt x="5264" y="7447"/>
                </a:lnTo>
                <a:lnTo>
                  <a:pt x="5328" y="7361"/>
                </a:lnTo>
                <a:lnTo>
                  <a:pt x="5371" y="7275"/>
                </a:lnTo>
                <a:lnTo>
                  <a:pt x="5371" y="7168"/>
                </a:lnTo>
                <a:lnTo>
                  <a:pt x="5328" y="7040"/>
                </a:lnTo>
                <a:lnTo>
                  <a:pt x="5285" y="6912"/>
                </a:lnTo>
                <a:lnTo>
                  <a:pt x="5242" y="6783"/>
                </a:lnTo>
                <a:lnTo>
                  <a:pt x="5178" y="6676"/>
                </a:lnTo>
                <a:lnTo>
                  <a:pt x="5135" y="6548"/>
                </a:lnTo>
                <a:lnTo>
                  <a:pt x="5135" y="6398"/>
                </a:lnTo>
                <a:lnTo>
                  <a:pt x="5114" y="6334"/>
                </a:lnTo>
                <a:lnTo>
                  <a:pt x="5093" y="6248"/>
                </a:lnTo>
                <a:lnTo>
                  <a:pt x="5050" y="6206"/>
                </a:lnTo>
                <a:lnTo>
                  <a:pt x="4986" y="6141"/>
                </a:lnTo>
                <a:lnTo>
                  <a:pt x="4943" y="6034"/>
                </a:lnTo>
                <a:lnTo>
                  <a:pt x="4900" y="5927"/>
                </a:lnTo>
                <a:lnTo>
                  <a:pt x="4793" y="5649"/>
                </a:lnTo>
                <a:lnTo>
                  <a:pt x="4750" y="5521"/>
                </a:lnTo>
                <a:lnTo>
                  <a:pt x="4665" y="5414"/>
                </a:lnTo>
                <a:lnTo>
                  <a:pt x="4579" y="5328"/>
                </a:lnTo>
                <a:lnTo>
                  <a:pt x="4536" y="5307"/>
                </a:lnTo>
                <a:close/>
                <a:moveTo>
                  <a:pt x="2632" y="429"/>
                </a:moveTo>
                <a:lnTo>
                  <a:pt x="2889" y="450"/>
                </a:lnTo>
                <a:lnTo>
                  <a:pt x="3124" y="472"/>
                </a:lnTo>
                <a:lnTo>
                  <a:pt x="3702" y="472"/>
                </a:lnTo>
                <a:lnTo>
                  <a:pt x="4258" y="514"/>
                </a:lnTo>
                <a:lnTo>
                  <a:pt x="4793" y="536"/>
                </a:lnTo>
                <a:lnTo>
                  <a:pt x="5306" y="557"/>
                </a:lnTo>
                <a:lnTo>
                  <a:pt x="5820" y="600"/>
                </a:lnTo>
                <a:lnTo>
                  <a:pt x="5970" y="600"/>
                </a:lnTo>
                <a:lnTo>
                  <a:pt x="6077" y="621"/>
                </a:lnTo>
                <a:lnTo>
                  <a:pt x="6098" y="621"/>
                </a:lnTo>
                <a:lnTo>
                  <a:pt x="6141" y="664"/>
                </a:lnTo>
                <a:lnTo>
                  <a:pt x="6162" y="707"/>
                </a:lnTo>
                <a:lnTo>
                  <a:pt x="6184" y="771"/>
                </a:lnTo>
                <a:lnTo>
                  <a:pt x="6205" y="1006"/>
                </a:lnTo>
                <a:lnTo>
                  <a:pt x="6226" y="1263"/>
                </a:lnTo>
                <a:lnTo>
                  <a:pt x="6205" y="1777"/>
                </a:lnTo>
                <a:lnTo>
                  <a:pt x="6226" y="2354"/>
                </a:lnTo>
                <a:lnTo>
                  <a:pt x="6248" y="2932"/>
                </a:lnTo>
                <a:lnTo>
                  <a:pt x="6248" y="5542"/>
                </a:lnTo>
                <a:lnTo>
                  <a:pt x="6269" y="6869"/>
                </a:lnTo>
                <a:lnTo>
                  <a:pt x="6291" y="7511"/>
                </a:lnTo>
                <a:lnTo>
                  <a:pt x="6269" y="7832"/>
                </a:lnTo>
                <a:lnTo>
                  <a:pt x="6248" y="7981"/>
                </a:lnTo>
                <a:lnTo>
                  <a:pt x="6205" y="8153"/>
                </a:lnTo>
                <a:lnTo>
                  <a:pt x="6184" y="8174"/>
                </a:lnTo>
                <a:lnTo>
                  <a:pt x="6141" y="8195"/>
                </a:lnTo>
                <a:lnTo>
                  <a:pt x="6055" y="8238"/>
                </a:lnTo>
                <a:lnTo>
                  <a:pt x="5906" y="8260"/>
                </a:lnTo>
                <a:lnTo>
                  <a:pt x="5413" y="8260"/>
                </a:lnTo>
                <a:lnTo>
                  <a:pt x="5199" y="8238"/>
                </a:lnTo>
                <a:lnTo>
                  <a:pt x="4857" y="8217"/>
                </a:lnTo>
                <a:lnTo>
                  <a:pt x="4515" y="8217"/>
                </a:lnTo>
                <a:lnTo>
                  <a:pt x="3830" y="8260"/>
                </a:lnTo>
                <a:lnTo>
                  <a:pt x="3167" y="8281"/>
                </a:lnTo>
                <a:lnTo>
                  <a:pt x="2504" y="8302"/>
                </a:lnTo>
                <a:lnTo>
                  <a:pt x="2268" y="8324"/>
                </a:lnTo>
                <a:lnTo>
                  <a:pt x="2119" y="8324"/>
                </a:lnTo>
                <a:lnTo>
                  <a:pt x="2076" y="8302"/>
                </a:lnTo>
                <a:lnTo>
                  <a:pt x="2033" y="8281"/>
                </a:lnTo>
                <a:lnTo>
                  <a:pt x="2012" y="8217"/>
                </a:lnTo>
                <a:lnTo>
                  <a:pt x="2012" y="8153"/>
                </a:lnTo>
                <a:lnTo>
                  <a:pt x="1990" y="8110"/>
                </a:lnTo>
                <a:lnTo>
                  <a:pt x="1969" y="8088"/>
                </a:lnTo>
                <a:lnTo>
                  <a:pt x="1883" y="8088"/>
                </a:lnTo>
                <a:lnTo>
                  <a:pt x="1798" y="8153"/>
                </a:lnTo>
                <a:lnTo>
                  <a:pt x="1626" y="8302"/>
                </a:lnTo>
                <a:lnTo>
                  <a:pt x="1541" y="8367"/>
                </a:lnTo>
                <a:lnTo>
                  <a:pt x="1455" y="8388"/>
                </a:lnTo>
                <a:lnTo>
                  <a:pt x="1412" y="8388"/>
                </a:lnTo>
                <a:lnTo>
                  <a:pt x="1391" y="8367"/>
                </a:lnTo>
                <a:lnTo>
                  <a:pt x="1348" y="8345"/>
                </a:lnTo>
                <a:lnTo>
                  <a:pt x="1327" y="8281"/>
                </a:lnTo>
                <a:lnTo>
                  <a:pt x="1327" y="8217"/>
                </a:lnTo>
                <a:lnTo>
                  <a:pt x="1348" y="8131"/>
                </a:lnTo>
                <a:lnTo>
                  <a:pt x="1348" y="8110"/>
                </a:lnTo>
                <a:lnTo>
                  <a:pt x="1348" y="8067"/>
                </a:lnTo>
                <a:lnTo>
                  <a:pt x="1327" y="8067"/>
                </a:lnTo>
                <a:lnTo>
                  <a:pt x="1263" y="8046"/>
                </a:lnTo>
                <a:lnTo>
                  <a:pt x="1220" y="8067"/>
                </a:lnTo>
                <a:lnTo>
                  <a:pt x="1177" y="8110"/>
                </a:lnTo>
                <a:lnTo>
                  <a:pt x="1092" y="8217"/>
                </a:lnTo>
                <a:lnTo>
                  <a:pt x="1006" y="8324"/>
                </a:lnTo>
                <a:lnTo>
                  <a:pt x="963" y="8367"/>
                </a:lnTo>
                <a:lnTo>
                  <a:pt x="920" y="8409"/>
                </a:lnTo>
                <a:lnTo>
                  <a:pt x="856" y="8431"/>
                </a:lnTo>
                <a:lnTo>
                  <a:pt x="792" y="8431"/>
                </a:lnTo>
                <a:lnTo>
                  <a:pt x="771" y="8409"/>
                </a:lnTo>
                <a:lnTo>
                  <a:pt x="771" y="8367"/>
                </a:lnTo>
                <a:lnTo>
                  <a:pt x="792" y="8281"/>
                </a:lnTo>
                <a:lnTo>
                  <a:pt x="856" y="8153"/>
                </a:lnTo>
                <a:lnTo>
                  <a:pt x="1049" y="7917"/>
                </a:lnTo>
                <a:lnTo>
                  <a:pt x="1156" y="7767"/>
                </a:lnTo>
                <a:lnTo>
                  <a:pt x="1156" y="7682"/>
                </a:lnTo>
                <a:lnTo>
                  <a:pt x="1134" y="7639"/>
                </a:lnTo>
                <a:lnTo>
                  <a:pt x="1070" y="7618"/>
                </a:lnTo>
                <a:lnTo>
                  <a:pt x="942" y="7618"/>
                </a:lnTo>
                <a:lnTo>
                  <a:pt x="856" y="7660"/>
                </a:lnTo>
                <a:lnTo>
                  <a:pt x="792" y="7703"/>
                </a:lnTo>
                <a:lnTo>
                  <a:pt x="749" y="7746"/>
                </a:lnTo>
                <a:lnTo>
                  <a:pt x="835" y="7575"/>
                </a:lnTo>
                <a:lnTo>
                  <a:pt x="878" y="7468"/>
                </a:lnTo>
                <a:lnTo>
                  <a:pt x="899" y="7404"/>
                </a:lnTo>
                <a:lnTo>
                  <a:pt x="899" y="7297"/>
                </a:lnTo>
                <a:lnTo>
                  <a:pt x="856" y="7275"/>
                </a:lnTo>
                <a:lnTo>
                  <a:pt x="835" y="7254"/>
                </a:lnTo>
                <a:lnTo>
                  <a:pt x="792" y="7297"/>
                </a:lnTo>
                <a:lnTo>
                  <a:pt x="685" y="7382"/>
                </a:lnTo>
                <a:lnTo>
                  <a:pt x="578" y="7468"/>
                </a:lnTo>
                <a:lnTo>
                  <a:pt x="557" y="7361"/>
                </a:lnTo>
                <a:lnTo>
                  <a:pt x="578" y="7254"/>
                </a:lnTo>
                <a:lnTo>
                  <a:pt x="621" y="7147"/>
                </a:lnTo>
                <a:lnTo>
                  <a:pt x="685" y="7040"/>
                </a:lnTo>
                <a:lnTo>
                  <a:pt x="835" y="6826"/>
                </a:lnTo>
                <a:lnTo>
                  <a:pt x="899" y="6719"/>
                </a:lnTo>
                <a:lnTo>
                  <a:pt x="942" y="6633"/>
                </a:lnTo>
                <a:lnTo>
                  <a:pt x="963" y="6484"/>
                </a:lnTo>
                <a:lnTo>
                  <a:pt x="942" y="6441"/>
                </a:lnTo>
                <a:lnTo>
                  <a:pt x="920" y="6420"/>
                </a:lnTo>
                <a:lnTo>
                  <a:pt x="899" y="6441"/>
                </a:lnTo>
                <a:lnTo>
                  <a:pt x="835" y="6462"/>
                </a:lnTo>
                <a:lnTo>
                  <a:pt x="706" y="6591"/>
                </a:lnTo>
                <a:lnTo>
                  <a:pt x="599" y="6655"/>
                </a:lnTo>
                <a:lnTo>
                  <a:pt x="599" y="6633"/>
                </a:lnTo>
                <a:lnTo>
                  <a:pt x="578" y="6591"/>
                </a:lnTo>
                <a:lnTo>
                  <a:pt x="557" y="6377"/>
                </a:lnTo>
                <a:lnTo>
                  <a:pt x="535" y="5713"/>
                </a:lnTo>
                <a:lnTo>
                  <a:pt x="578" y="4601"/>
                </a:lnTo>
                <a:lnTo>
                  <a:pt x="599" y="3446"/>
                </a:lnTo>
                <a:lnTo>
                  <a:pt x="599" y="2889"/>
                </a:lnTo>
                <a:lnTo>
                  <a:pt x="578" y="2632"/>
                </a:lnTo>
                <a:lnTo>
                  <a:pt x="557" y="2504"/>
                </a:lnTo>
                <a:lnTo>
                  <a:pt x="578" y="2397"/>
                </a:lnTo>
                <a:lnTo>
                  <a:pt x="599" y="2333"/>
                </a:lnTo>
                <a:lnTo>
                  <a:pt x="642" y="2290"/>
                </a:lnTo>
                <a:lnTo>
                  <a:pt x="728" y="2269"/>
                </a:lnTo>
                <a:lnTo>
                  <a:pt x="792" y="2269"/>
                </a:lnTo>
                <a:lnTo>
                  <a:pt x="1134" y="2247"/>
                </a:lnTo>
                <a:lnTo>
                  <a:pt x="1370" y="2226"/>
                </a:lnTo>
                <a:lnTo>
                  <a:pt x="1648" y="2226"/>
                </a:lnTo>
                <a:lnTo>
                  <a:pt x="1776" y="2205"/>
                </a:lnTo>
                <a:lnTo>
                  <a:pt x="1905" y="2162"/>
                </a:lnTo>
                <a:lnTo>
                  <a:pt x="2012" y="2119"/>
                </a:lnTo>
                <a:lnTo>
                  <a:pt x="2076" y="2033"/>
                </a:lnTo>
                <a:lnTo>
                  <a:pt x="2119" y="1948"/>
                </a:lnTo>
                <a:lnTo>
                  <a:pt x="2140" y="1819"/>
                </a:lnTo>
                <a:lnTo>
                  <a:pt x="2119" y="1691"/>
                </a:lnTo>
                <a:lnTo>
                  <a:pt x="2119" y="1563"/>
                </a:lnTo>
                <a:lnTo>
                  <a:pt x="2054" y="1285"/>
                </a:lnTo>
                <a:lnTo>
                  <a:pt x="2012" y="1071"/>
                </a:lnTo>
                <a:lnTo>
                  <a:pt x="1947" y="857"/>
                </a:lnTo>
                <a:lnTo>
                  <a:pt x="1926" y="750"/>
                </a:lnTo>
                <a:lnTo>
                  <a:pt x="1905" y="664"/>
                </a:lnTo>
                <a:lnTo>
                  <a:pt x="1926" y="600"/>
                </a:lnTo>
                <a:lnTo>
                  <a:pt x="1947" y="536"/>
                </a:lnTo>
                <a:lnTo>
                  <a:pt x="2033" y="472"/>
                </a:lnTo>
                <a:lnTo>
                  <a:pt x="2140" y="450"/>
                </a:lnTo>
                <a:lnTo>
                  <a:pt x="2397" y="429"/>
                </a:lnTo>
                <a:close/>
                <a:moveTo>
                  <a:pt x="6120" y="1"/>
                </a:moveTo>
                <a:lnTo>
                  <a:pt x="5863" y="44"/>
                </a:lnTo>
                <a:lnTo>
                  <a:pt x="5627" y="86"/>
                </a:lnTo>
                <a:lnTo>
                  <a:pt x="5413" y="108"/>
                </a:lnTo>
                <a:lnTo>
                  <a:pt x="5221" y="129"/>
                </a:lnTo>
                <a:lnTo>
                  <a:pt x="4814" y="129"/>
                </a:lnTo>
                <a:lnTo>
                  <a:pt x="4408" y="86"/>
                </a:lnTo>
                <a:lnTo>
                  <a:pt x="2589" y="86"/>
                </a:lnTo>
                <a:lnTo>
                  <a:pt x="2225" y="65"/>
                </a:lnTo>
                <a:lnTo>
                  <a:pt x="1691" y="65"/>
                </a:lnTo>
                <a:lnTo>
                  <a:pt x="1541" y="108"/>
                </a:lnTo>
                <a:lnTo>
                  <a:pt x="1391" y="193"/>
                </a:lnTo>
                <a:lnTo>
                  <a:pt x="1348" y="258"/>
                </a:lnTo>
                <a:lnTo>
                  <a:pt x="1284" y="322"/>
                </a:lnTo>
                <a:lnTo>
                  <a:pt x="878" y="857"/>
                </a:lnTo>
                <a:lnTo>
                  <a:pt x="664" y="1135"/>
                </a:lnTo>
                <a:lnTo>
                  <a:pt x="492" y="1413"/>
                </a:lnTo>
                <a:lnTo>
                  <a:pt x="343" y="1670"/>
                </a:lnTo>
                <a:lnTo>
                  <a:pt x="171" y="1926"/>
                </a:lnTo>
                <a:lnTo>
                  <a:pt x="65" y="2076"/>
                </a:lnTo>
                <a:lnTo>
                  <a:pt x="43" y="2162"/>
                </a:lnTo>
                <a:lnTo>
                  <a:pt x="22" y="2247"/>
                </a:lnTo>
                <a:lnTo>
                  <a:pt x="0" y="2376"/>
                </a:lnTo>
                <a:lnTo>
                  <a:pt x="0" y="2504"/>
                </a:lnTo>
                <a:lnTo>
                  <a:pt x="22" y="2739"/>
                </a:lnTo>
                <a:lnTo>
                  <a:pt x="43" y="3403"/>
                </a:lnTo>
                <a:lnTo>
                  <a:pt x="65" y="3724"/>
                </a:lnTo>
                <a:lnTo>
                  <a:pt x="65" y="4066"/>
                </a:lnTo>
                <a:lnTo>
                  <a:pt x="22" y="4900"/>
                </a:lnTo>
                <a:lnTo>
                  <a:pt x="22" y="5735"/>
                </a:lnTo>
                <a:lnTo>
                  <a:pt x="22" y="7254"/>
                </a:lnTo>
                <a:lnTo>
                  <a:pt x="22" y="7939"/>
                </a:lnTo>
                <a:lnTo>
                  <a:pt x="22" y="8367"/>
                </a:lnTo>
                <a:lnTo>
                  <a:pt x="0" y="8559"/>
                </a:lnTo>
                <a:lnTo>
                  <a:pt x="0" y="8666"/>
                </a:lnTo>
                <a:lnTo>
                  <a:pt x="0" y="8730"/>
                </a:lnTo>
                <a:lnTo>
                  <a:pt x="22" y="8794"/>
                </a:lnTo>
                <a:lnTo>
                  <a:pt x="65" y="8837"/>
                </a:lnTo>
                <a:lnTo>
                  <a:pt x="107" y="8859"/>
                </a:lnTo>
                <a:lnTo>
                  <a:pt x="171" y="8880"/>
                </a:lnTo>
                <a:lnTo>
                  <a:pt x="321" y="8901"/>
                </a:lnTo>
                <a:lnTo>
                  <a:pt x="471" y="8901"/>
                </a:lnTo>
                <a:lnTo>
                  <a:pt x="792" y="8837"/>
                </a:lnTo>
                <a:lnTo>
                  <a:pt x="1027" y="8794"/>
                </a:lnTo>
                <a:lnTo>
                  <a:pt x="1434" y="8773"/>
                </a:lnTo>
                <a:lnTo>
                  <a:pt x="1840" y="8773"/>
                </a:lnTo>
                <a:lnTo>
                  <a:pt x="2653" y="8794"/>
                </a:lnTo>
                <a:lnTo>
                  <a:pt x="3081" y="8773"/>
                </a:lnTo>
                <a:lnTo>
                  <a:pt x="3509" y="8752"/>
                </a:lnTo>
                <a:lnTo>
                  <a:pt x="3937" y="8709"/>
                </a:lnTo>
                <a:lnTo>
                  <a:pt x="4344" y="8687"/>
                </a:lnTo>
                <a:lnTo>
                  <a:pt x="4750" y="8687"/>
                </a:lnTo>
                <a:lnTo>
                  <a:pt x="5178" y="8709"/>
                </a:lnTo>
                <a:lnTo>
                  <a:pt x="5991" y="8773"/>
                </a:lnTo>
                <a:lnTo>
                  <a:pt x="6162" y="8794"/>
                </a:lnTo>
                <a:lnTo>
                  <a:pt x="6398" y="8794"/>
                </a:lnTo>
                <a:lnTo>
                  <a:pt x="6483" y="8773"/>
                </a:lnTo>
                <a:lnTo>
                  <a:pt x="6547" y="8730"/>
                </a:lnTo>
                <a:lnTo>
                  <a:pt x="6612" y="8666"/>
                </a:lnTo>
                <a:lnTo>
                  <a:pt x="6654" y="8581"/>
                </a:lnTo>
                <a:lnTo>
                  <a:pt x="6697" y="8495"/>
                </a:lnTo>
                <a:lnTo>
                  <a:pt x="6740" y="8260"/>
                </a:lnTo>
                <a:lnTo>
                  <a:pt x="6761" y="8046"/>
                </a:lnTo>
                <a:lnTo>
                  <a:pt x="6740" y="7832"/>
                </a:lnTo>
                <a:lnTo>
                  <a:pt x="6740" y="6013"/>
                </a:lnTo>
                <a:lnTo>
                  <a:pt x="6719" y="5264"/>
                </a:lnTo>
                <a:lnTo>
                  <a:pt x="6676" y="4494"/>
                </a:lnTo>
                <a:lnTo>
                  <a:pt x="6654" y="4109"/>
                </a:lnTo>
                <a:lnTo>
                  <a:pt x="6654" y="3702"/>
                </a:lnTo>
                <a:lnTo>
                  <a:pt x="6676" y="2932"/>
                </a:lnTo>
                <a:lnTo>
                  <a:pt x="6697" y="2183"/>
                </a:lnTo>
                <a:lnTo>
                  <a:pt x="6697" y="1456"/>
                </a:lnTo>
                <a:lnTo>
                  <a:pt x="6676" y="792"/>
                </a:lnTo>
                <a:lnTo>
                  <a:pt x="6697" y="472"/>
                </a:lnTo>
                <a:lnTo>
                  <a:pt x="6654" y="300"/>
                </a:lnTo>
                <a:lnTo>
                  <a:pt x="6633" y="236"/>
                </a:lnTo>
                <a:lnTo>
                  <a:pt x="6590" y="172"/>
                </a:lnTo>
                <a:lnTo>
                  <a:pt x="6483" y="65"/>
                </a:lnTo>
                <a:lnTo>
                  <a:pt x="6376" y="22"/>
                </a:lnTo>
                <a:lnTo>
                  <a:pt x="6248" y="1"/>
                </a:lnTo>
                <a:close/>
              </a:path>
            </a:pathLst>
          </a:custGeom>
          <a:solidFill>
            <a:srgbClr val="5C64B7"/>
          </a:solidFill>
          <a:ln>
            <a:solidFill>
              <a:srgbClr val="5C64B7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endParaRPr sz="16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8" name="Прямая со стрелкой 97">
            <a:extLst>
              <a:ext uri="{FF2B5EF4-FFF2-40B4-BE49-F238E27FC236}">
                <a16:creationId xmlns:a16="http://schemas.microsoft.com/office/drawing/2014/main" id="{109501DB-EF64-7F63-198C-47D56DF2E689}"/>
              </a:ext>
            </a:extLst>
          </p:cNvPr>
          <p:cNvCxnSpPr>
            <a:cxnSpLocks/>
          </p:cNvCxnSpPr>
          <p:nvPr/>
        </p:nvCxnSpPr>
        <p:spPr>
          <a:xfrm flipH="1">
            <a:off x="11216863" y="1737110"/>
            <a:ext cx="0" cy="35615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Стрелка вправо 70">
            <a:extLst>
              <a:ext uri="{FF2B5EF4-FFF2-40B4-BE49-F238E27FC236}">
                <a16:creationId xmlns:a16="http://schemas.microsoft.com/office/drawing/2014/main" id="{F8841F7C-7C96-F934-81C0-B2281F2F62C4}"/>
              </a:ext>
            </a:extLst>
          </p:cNvPr>
          <p:cNvSpPr/>
          <p:nvPr/>
        </p:nvSpPr>
        <p:spPr>
          <a:xfrm rot="5400000" flipV="1">
            <a:off x="10949341" y="4576750"/>
            <a:ext cx="307832" cy="132203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B5693B2E-E144-1971-1B59-BD84735524E7}"/>
              </a:ext>
            </a:extLst>
          </p:cNvPr>
          <p:cNvSpPr/>
          <p:nvPr/>
        </p:nvSpPr>
        <p:spPr>
          <a:xfrm>
            <a:off x="9015213" y="1256883"/>
            <a:ext cx="971668" cy="223012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295E7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ОӘО</a:t>
            </a:r>
          </a:p>
        </p:txBody>
      </p:sp>
      <p:pic>
        <p:nvPicPr>
          <p:cNvPr id="101" name="Рисунок 100">
            <a:extLst>
              <a:ext uri="{FF2B5EF4-FFF2-40B4-BE49-F238E27FC236}">
                <a16:creationId xmlns:a16="http://schemas.microsoft.com/office/drawing/2014/main" id="{32A20FCA-C9FE-55EC-EC42-4F7E36F0A2F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9509" y="1296326"/>
            <a:ext cx="350227" cy="341211"/>
          </a:xfrm>
          <a:prstGeom prst="rect">
            <a:avLst/>
          </a:prstGeom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91F0D1B4-CFA9-A8D5-C35A-6421603D2190}"/>
              </a:ext>
            </a:extLst>
          </p:cNvPr>
          <p:cNvSpPr txBox="1"/>
          <p:nvPr/>
        </p:nvSpPr>
        <p:spPr>
          <a:xfrm>
            <a:off x="10608055" y="5506104"/>
            <a:ext cx="971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 err="1">
                <a:solidFill>
                  <a:srgbClr val="25406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евентивті</a:t>
            </a:r>
            <a:r>
              <a:rPr lang="ru-RU" sz="900" b="1" dirty="0">
                <a:solidFill>
                  <a:srgbClr val="25406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rgbClr val="25406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ақылау</a:t>
            </a:r>
            <a:endParaRPr lang="ru-RU" sz="900" b="1" dirty="0">
              <a:solidFill>
                <a:srgbClr val="25406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3EF71DA9-AE93-85D8-1EB1-48B824348915}"/>
              </a:ext>
            </a:extLst>
          </p:cNvPr>
          <p:cNvSpPr txBox="1"/>
          <p:nvPr/>
        </p:nvSpPr>
        <p:spPr>
          <a:xfrm>
            <a:off x="10811348" y="4772116"/>
            <a:ext cx="583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193A4F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АЖ</a:t>
            </a:r>
            <a:endParaRPr lang="ru-RU" sz="1400" b="1" dirty="0">
              <a:solidFill>
                <a:srgbClr val="193A4F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4" name="Рисунок 103" descr="Банк">
            <a:extLst>
              <a:ext uri="{FF2B5EF4-FFF2-40B4-BE49-F238E27FC236}">
                <a16:creationId xmlns:a16="http://schemas.microsoft.com/office/drawing/2014/main" id="{0111F039-5366-D9C6-A6C0-F3E833FFB5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607039" y="4625035"/>
            <a:ext cx="507289" cy="557587"/>
          </a:xfrm>
          <a:prstGeom prst="rect">
            <a:avLst/>
          </a:prstGeom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5B7BDDA4-00AB-DC71-8BB6-A4BB4043425C}"/>
              </a:ext>
            </a:extLst>
          </p:cNvPr>
          <p:cNvSpPr txBox="1"/>
          <p:nvPr/>
        </p:nvSpPr>
        <p:spPr>
          <a:xfrm>
            <a:off x="9343365" y="5111547"/>
            <a:ext cx="9892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193A4F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Р ЕХӘҚМ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9A75F4BD-B76E-F91E-1F57-D681526C3F04}"/>
              </a:ext>
            </a:extLst>
          </p:cNvPr>
          <p:cNvSpPr txBox="1"/>
          <p:nvPr/>
        </p:nvSpPr>
        <p:spPr>
          <a:xfrm>
            <a:off x="9243118" y="5463744"/>
            <a:ext cx="1203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err="1">
                <a:solidFill>
                  <a:srgbClr val="25406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800" b="1" dirty="0">
                <a:solidFill>
                  <a:srgbClr val="25406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b="1" dirty="0" err="1">
                <a:solidFill>
                  <a:srgbClr val="25406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ясатты</a:t>
            </a:r>
            <a:r>
              <a:rPr lang="ru-RU" sz="800" b="1" dirty="0">
                <a:solidFill>
                  <a:srgbClr val="25406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800" b="1" dirty="0" err="1">
                <a:solidFill>
                  <a:srgbClr val="25406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қалыптастыру</a:t>
            </a:r>
            <a:endParaRPr lang="ru-RU" sz="800" b="1" dirty="0">
              <a:solidFill>
                <a:srgbClr val="25406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7" name="Рисунок 106">
            <a:extLst>
              <a:ext uri="{FF2B5EF4-FFF2-40B4-BE49-F238E27FC236}">
                <a16:creationId xmlns:a16="http://schemas.microsoft.com/office/drawing/2014/main" id="{FA9592D9-D99D-0CBE-5249-6F3280FCCC3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10931903" y="4982925"/>
            <a:ext cx="334601" cy="442810"/>
          </a:xfrm>
          <a:prstGeom prst="rect">
            <a:avLst/>
          </a:prstGeom>
        </p:spPr>
      </p:pic>
      <p:sp>
        <p:nvSpPr>
          <p:cNvPr id="108" name="Стрелка вправо 85">
            <a:extLst>
              <a:ext uri="{FF2B5EF4-FFF2-40B4-BE49-F238E27FC236}">
                <a16:creationId xmlns:a16="http://schemas.microsoft.com/office/drawing/2014/main" id="{5BD5B2E1-611D-BAAC-7B88-7734F2CD3D83}"/>
              </a:ext>
            </a:extLst>
          </p:cNvPr>
          <p:cNvSpPr/>
          <p:nvPr/>
        </p:nvSpPr>
        <p:spPr>
          <a:xfrm flipH="1" flipV="1">
            <a:off x="10261759" y="4963023"/>
            <a:ext cx="381989" cy="121937"/>
          </a:xfrm>
          <a:prstGeom prst="rightArrow">
            <a:avLst/>
          </a:prstGeom>
          <a:solidFill>
            <a:schemeClr val="tx2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9" name="Соединительная линия уступом 5">
            <a:extLst>
              <a:ext uri="{FF2B5EF4-FFF2-40B4-BE49-F238E27FC236}">
                <a16:creationId xmlns:a16="http://schemas.microsoft.com/office/drawing/2014/main" id="{704D5479-2F08-8BF4-A458-7E374413F4FB}"/>
              </a:ext>
            </a:extLst>
          </p:cNvPr>
          <p:cNvCxnSpPr>
            <a:cxnSpLocks/>
          </p:cNvCxnSpPr>
          <p:nvPr/>
        </p:nvCxnSpPr>
        <p:spPr>
          <a:xfrm>
            <a:off x="9607039" y="3448080"/>
            <a:ext cx="785336" cy="703696"/>
          </a:xfrm>
          <a:prstGeom prst="bentConnector3">
            <a:avLst>
              <a:gd name="adj1" fmla="val 50000"/>
            </a:avLst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59">
            <a:extLst>
              <a:ext uri="{FF2B5EF4-FFF2-40B4-BE49-F238E27FC236}">
                <a16:creationId xmlns:a16="http://schemas.microsoft.com/office/drawing/2014/main" id="{341CB45C-C288-942C-99F1-AB77DD1FE1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8834" y="1872703"/>
            <a:ext cx="2462142" cy="1670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9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ОО да 3 </a:t>
            </a:r>
            <a:r>
              <a:rPr lang="ru-RU" altLang="ru-RU" sz="9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жылда</a:t>
            </a:r>
            <a:r>
              <a:rPr lang="ru-RU" altLang="ru-RU" sz="9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1 </a:t>
            </a:r>
            <a:r>
              <a:rPr lang="ru-RU" altLang="ru-RU" sz="9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рет</a:t>
            </a:r>
            <a:r>
              <a:rPr lang="ru-RU" altLang="ru-RU" sz="9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оқу</a:t>
            </a:r>
            <a:r>
              <a:rPr lang="ru-RU" altLang="ru-RU" sz="9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  <a:endParaRPr kumimoji="0" lang="ru-RU" altLang="ru-RU" sz="9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Rectangle 59">
            <a:extLst>
              <a:ext uri="{FF2B5EF4-FFF2-40B4-BE49-F238E27FC236}">
                <a16:creationId xmlns:a16="http://schemas.microsoft.com/office/drawing/2014/main" id="{5A87B0D5-8EE0-25B7-79C0-CE0340BF8D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2725" y="2163336"/>
            <a:ext cx="2796949" cy="32455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ЕҚ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Бірінші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басшы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ол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уәкілеттік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берген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адам</a:t>
            </a:r>
            <a:endParaRPr lang="ru-RU" altLang="ru-RU" sz="900" kern="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Rectangle 59">
            <a:extLst>
              <a:ext uri="{FF2B5EF4-FFF2-40B4-BE49-F238E27FC236}">
                <a16:creationId xmlns:a16="http://schemas.microsoft.com/office/drawing/2014/main" id="{18E40C90-B44F-B144-8379-3A29324D1F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2725" y="2614403"/>
            <a:ext cx="2796950" cy="16921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lnSpc>
                <a:spcPct val="107000"/>
              </a:lnSpc>
              <a:spcAft>
                <a:spcPts val="0"/>
              </a:spcAft>
              <a:buNone/>
              <a:tabLst>
                <a:tab pos="272415" algn="l"/>
              </a:tabLst>
            </a:pPr>
            <a:r>
              <a:rPr lang="ru-RU" sz="900" dirty="0">
                <a:latin typeface="Century Gothic" panose="020B0502020202020204" pitchFamily="34" charset="0"/>
                <a:cs typeface="Arial" panose="020B0604020202020204" pitchFamily="34" charset="0"/>
              </a:rPr>
              <a:t>Жеке </a:t>
            </a:r>
            <a:r>
              <a:rPr lang="ru-RU" sz="900" dirty="0" err="1">
                <a:latin typeface="Century Gothic" panose="020B0502020202020204" pitchFamily="34" charset="0"/>
                <a:cs typeface="Arial" panose="020B0604020202020204" pitchFamily="34" charset="0"/>
              </a:rPr>
              <a:t>кәсіпкер</a:t>
            </a:r>
            <a:endParaRPr lang="ru-RU" sz="900" dirty="0"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Rectangle 59">
            <a:extLst>
              <a:ext uri="{FF2B5EF4-FFF2-40B4-BE49-F238E27FC236}">
                <a16:creationId xmlns:a16="http://schemas.microsoft.com/office/drawing/2014/main" id="{9E40B060-794E-F147-AB0F-62F1275DD6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2725" y="2862622"/>
            <a:ext cx="2796950" cy="64658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ЕҚ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қызметінің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басшысы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мамандары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; ЕҚ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функцияларды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орындайтын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маман;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құрылымдық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бөлімшенің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басшысы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техникалық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инспекторлар</a:t>
            </a:r>
            <a:endParaRPr lang="ru-RU" altLang="ru-RU" sz="900" kern="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tangle 59">
            <a:extLst>
              <a:ext uri="{FF2B5EF4-FFF2-40B4-BE49-F238E27FC236}">
                <a16:creationId xmlns:a16="http://schemas.microsoft.com/office/drawing/2014/main" id="{CDB6F46D-C90B-A69A-1EBF-D1616E7C99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9227" y="5146523"/>
            <a:ext cx="2784327" cy="22200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lnSpc>
                <a:spcPct val="107000"/>
              </a:lnSpc>
              <a:spcAft>
                <a:spcPts val="0"/>
              </a:spcAft>
              <a:buNone/>
              <a:tabLst>
                <a:tab pos="272415" algn="l"/>
              </a:tabLst>
            </a:pPr>
            <a:r>
              <a:rPr lang="ru-RU" sz="900" dirty="0" err="1">
                <a:latin typeface="Century Gothic" panose="020B0502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9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latin typeface="Century Gothic" panose="020B0502020202020204" pitchFamily="34" charset="0"/>
                <a:cs typeface="Arial" panose="020B0604020202020204" pitchFamily="34" charset="0"/>
              </a:rPr>
              <a:t>еңбек</a:t>
            </a:r>
            <a:r>
              <a:rPr lang="ru-RU" sz="900" dirty="0">
                <a:latin typeface="Century Gothic" panose="020B0502020202020204" pitchFamily="34" charset="0"/>
                <a:cs typeface="Arial" panose="020B0604020202020204" pitchFamily="34" charset="0"/>
              </a:rPr>
              <a:t> инспекторы</a:t>
            </a:r>
          </a:p>
        </p:txBody>
      </p:sp>
      <p:sp>
        <p:nvSpPr>
          <p:cNvPr id="115" name="Rectangle 59">
            <a:extLst>
              <a:ext uri="{FF2B5EF4-FFF2-40B4-BE49-F238E27FC236}">
                <a16:creationId xmlns:a16="http://schemas.microsoft.com/office/drawing/2014/main" id="{BB5D0C52-253C-5208-76A2-B8DB7672BC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3689" y="3621987"/>
            <a:ext cx="2662996" cy="1447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9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ОО да </a:t>
            </a:r>
            <a:r>
              <a:rPr lang="ru-RU" altLang="ru-RU" sz="9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altLang="ru-RU" sz="9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қызметте</a:t>
            </a:r>
            <a:r>
              <a:rPr lang="ru-RU" altLang="ru-RU" sz="9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1 </a:t>
            </a:r>
            <a:r>
              <a:rPr lang="ru-RU" altLang="ru-RU" sz="9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рет</a:t>
            </a:r>
            <a:r>
              <a:rPr lang="ru-RU" altLang="ru-RU" sz="9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оқыту</a:t>
            </a:r>
            <a:r>
              <a:rPr lang="ru-RU" altLang="ru-RU" sz="9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  <a:endParaRPr kumimoji="0" lang="ru-RU" altLang="ru-RU" sz="9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Овал 118">
            <a:extLst>
              <a:ext uri="{FF2B5EF4-FFF2-40B4-BE49-F238E27FC236}">
                <a16:creationId xmlns:a16="http://schemas.microsoft.com/office/drawing/2014/main" id="{F1951AA3-0133-9166-EF11-958EEF8027DA}"/>
              </a:ext>
            </a:extLst>
          </p:cNvPr>
          <p:cNvSpPr/>
          <p:nvPr/>
        </p:nvSpPr>
        <p:spPr>
          <a:xfrm>
            <a:off x="9900118" y="1213740"/>
            <a:ext cx="245948" cy="240593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8D28CD0B-7326-44BF-8589-903D2656064F}"/>
              </a:ext>
            </a:extLst>
          </p:cNvPr>
          <p:cNvSpPr txBox="1"/>
          <p:nvPr/>
        </p:nvSpPr>
        <p:spPr>
          <a:xfrm>
            <a:off x="5196615" y="1573789"/>
            <a:ext cx="2132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i="1" kern="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ілім</a:t>
            </a:r>
            <a:r>
              <a:rPr lang="ru-RU" sz="900" b="1" i="1" kern="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i="1" kern="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900" b="1" i="1" kern="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4 </a:t>
            </a:r>
            <a:r>
              <a:rPr lang="ru-RU" sz="900" b="1" i="1" kern="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наты</a:t>
            </a:r>
            <a:endParaRPr lang="ru-RU" sz="900" b="1" i="1" kern="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1" name="Прямая со стрелкой 120">
            <a:extLst>
              <a:ext uri="{FF2B5EF4-FFF2-40B4-BE49-F238E27FC236}">
                <a16:creationId xmlns:a16="http://schemas.microsoft.com/office/drawing/2014/main" id="{7F7103B7-89D0-AABA-860C-E583FD060175}"/>
              </a:ext>
            </a:extLst>
          </p:cNvPr>
          <p:cNvCxnSpPr>
            <a:cxnSpLocks/>
          </p:cNvCxnSpPr>
          <p:nvPr/>
        </p:nvCxnSpPr>
        <p:spPr>
          <a:xfrm flipH="1">
            <a:off x="10279889" y="1723266"/>
            <a:ext cx="0" cy="37858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2" name="Рисунок 121">
            <a:extLst>
              <a:ext uri="{FF2B5EF4-FFF2-40B4-BE49-F238E27FC236}">
                <a16:creationId xmlns:a16="http://schemas.microsoft.com/office/drawing/2014/main" id="{634FEE30-BC37-8C9C-7AB4-1939230921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83969" y="1286079"/>
            <a:ext cx="379608" cy="379714"/>
          </a:xfrm>
          <a:prstGeom prst="rect">
            <a:avLst/>
          </a:prstGeom>
        </p:spPr>
      </p:pic>
      <p:pic>
        <p:nvPicPr>
          <p:cNvPr id="123" name="Рисунок 122" descr="Значок 1 контур">
            <a:extLst>
              <a:ext uri="{FF2B5EF4-FFF2-40B4-BE49-F238E27FC236}">
                <a16:creationId xmlns:a16="http://schemas.microsoft.com/office/drawing/2014/main" id="{BC246055-5C6D-051B-9415-3BF6EEF41FD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9237" y="2207931"/>
            <a:ext cx="248584" cy="257229"/>
          </a:xfrm>
          <a:prstGeom prst="rect">
            <a:avLst/>
          </a:prstGeom>
        </p:spPr>
      </p:pic>
      <p:pic>
        <p:nvPicPr>
          <p:cNvPr id="124" name="Рисунок 123" descr="Значок контур">
            <a:extLst>
              <a:ext uri="{FF2B5EF4-FFF2-40B4-BE49-F238E27FC236}">
                <a16:creationId xmlns:a16="http://schemas.microsoft.com/office/drawing/2014/main" id="{8F1486AA-D13F-B637-80BA-C2B66DDB0AA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9237" y="2600921"/>
            <a:ext cx="248585" cy="257230"/>
          </a:xfrm>
          <a:prstGeom prst="rect">
            <a:avLst/>
          </a:prstGeom>
        </p:spPr>
      </p:pic>
      <p:pic>
        <p:nvPicPr>
          <p:cNvPr id="125" name="Рисунок 124" descr="Значок 3 контур">
            <a:extLst>
              <a:ext uri="{FF2B5EF4-FFF2-40B4-BE49-F238E27FC236}">
                <a16:creationId xmlns:a16="http://schemas.microsoft.com/office/drawing/2014/main" id="{4E235778-15C0-DE1B-41F8-B353FA218C8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9237" y="2916318"/>
            <a:ext cx="248585" cy="257230"/>
          </a:xfrm>
          <a:prstGeom prst="rect">
            <a:avLst/>
          </a:prstGeom>
        </p:spPr>
      </p:pic>
      <p:sp>
        <p:nvSpPr>
          <p:cNvPr id="127" name="Овал 126">
            <a:extLst>
              <a:ext uri="{FF2B5EF4-FFF2-40B4-BE49-F238E27FC236}">
                <a16:creationId xmlns:a16="http://schemas.microsoft.com/office/drawing/2014/main" id="{901037D5-41D0-B231-0A0C-20A04C1368FC}"/>
              </a:ext>
            </a:extLst>
          </p:cNvPr>
          <p:cNvSpPr/>
          <p:nvPr/>
        </p:nvSpPr>
        <p:spPr>
          <a:xfrm>
            <a:off x="10287000" y="3659872"/>
            <a:ext cx="245948" cy="240593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28" name="Овал 127">
            <a:extLst>
              <a:ext uri="{FF2B5EF4-FFF2-40B4-BE49-F238E27FC236}">
                <a16:creationId xmlns:a16="http://schemas.microsoft.com/office/drawing/2014/main" id="{C2A17CC6-2E62-EE8C-69D6-E005564D1875}"/>
              </a:ext>
            </a:extLst>
          </p:cNvPr>
          <p:cNvSpPr/>
          <p:nvPr/>
        </p:nvSpPr>
        <p:spPr>
          <a:xfrm>
            <a:off x="9120144" y="2926810"/>
            <a:ext cx="245948" cy="240593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9" name="Овал 128">
            <a:extLst>
              <a:ext uri="{FF2B5EF4-FFF2-40B4-BE49-F238E27FC236}">
                <a16:creationId xmlns:a16="http://schemas.microsoft.com/office/drawing/2014/main" id="{9A3F2E27-B73F-63AF-C0AE-6CAFF4B0BCEF}"/>
              </a:ext>
            </a:extLst>
          </p:cNvPr>
          <p:cNvSpPr/>
          <p:nvPr/>
        </p:nvSpPr>
        <p:spPr>
          <a:xfrm>
            <a:off x="5146660" y="1239575"/>
            <a:ext cx="245948" cy="240593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</a:t>
            </a:r>
          </a:p>
        </p:txBody>
      </p:sp>
      <p:cxnSp>
        <p:nvCxnSpPr>
          <p:cNvPr id="130" name="Соединительная линия уступом 12">
            <a:extLst>
              <a:ext uri="{FF2B5EF4-FFF2-40B4-BE49-F238E27FC236}">
                <a16:creationId xmlns:a16="http://schemas.microsoft.com/office/drawing/2014/main" id="{D7B912C3-733F-859F-3315-6A9C3B03B4DB}"/>
              </a:ext>
            </a:extLst>
          </p:cNvPr>
          <p:cNvCxnSpPr>
            <a:cxnSpLocks/>
          </p:cNvCxnSpPr>
          <p:nvPr/>
        </p:nvCxnSpPr>
        <p:spPr>
          <a:xfrm rot="5400000">
            <a:off x="10454545" y="2524646"/>
            <a:ext cx="607676" cy="319341"/>
          </a:xfrm>
          <a:prstGeom prst="bentConnector3">
            <a:avLst>
              <a:gd name="adj1" fmla="val 50000"/>
            </a:avLst>
          </a:prstGeom>
          <a:ln>
            <a:solidFill>
              <a:srgbClr val="1F497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tangle 59">
            <a:extLst>
              <a:ext uri="{FF2B5EF4-FFF2-40B4-BE49-F238E27FC236}">
                <a16:creationId xmlns:a16="http://schemas.microsoft.com/office/drawing/2014/main" id="{34355A76-5C0C-1914-C40A-6507B9D63F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9827" y="3899984"/>
            <a:ext cx="2765761" cy="20950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Өндірістік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кеңестің</a:t>
            </a:r>
            <a:r>
              <a:rPr lang="ru-RU" altLang="ru-RU" sz="900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төрағасы</a:t>
            </a:r>
            <a:endParaRPr lang="ru-RU" altLang="ru-RU" sz="900" kern="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Овал 133">
            <a:extLst>
              <a:ext uri="{FF2B5EF4-FFF2-40B4-BE49-F238E27FC236}">
                <a16:creationId xmlns:a16="http://schemas.microsoft.com/office/drawing/2014/main" id="{6B93332B-A822-7300-10BF-76911A98FEA9}"/>
              </a:ext>
            </a:extLst>
          </p:cNvPr>
          <p:cNvSpPr/>
          <p:nvPr/>
        </p:nvSpPr>
        <p:spPr>
          <a:xfrm>
            <a:off x="4758486" y="5187331"/>
            <a:ext cx="186021" cy="165902"/>
          </a:xfrm>
          <a:prstGeom prst="ellipse">
            <a:avLst/>
          </a:prstGeom>
          <a:solidFill>
            <a:schemeClr val="bg1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1200" dirty="0">
                <a:solidFill>
                  <a:schemeClr val="accent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</a:t>
            </a:r>
            <a:endParaRPr lang="ru-RU" sz="1200" dirty="0">
              <a:solidFill>
                <a:schemeClr val="accent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Rectangle 59">
            <a:extLst>
              <a:ext uri="{FF2B5EF4-FFF2-40B4-BE49-F238E27FC236}">
                <a16:creationId xmlns:a16="http://schemas.microsoft.com/office/drawing/2014/main" id="{0136575A-8D7F-59E1-DAAC-EA048E93BA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801" y="4790290"/>
            <a:ext cx="2467287" cy="2165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9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ОӘО-да 3 </a:t>
            </a:r>
            <a:r>
              <a:rPr lang="ru-RU" altLang="ru-RU" sz="9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жылда</a:t>
            </a:r>
            <a:r>
              <a:rPr lang="ru-RU" altLang="ru-RU" sz="9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1 </a:t>
            </a:r>
            <a:r>
              <a:rPr lang="ru-RU" altLang="ru-RU" sz="9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рет</a:t>
            </a:r>
            <a:r>
              <a:rPr lang="ru-RU" altLang="ru-RU" sz="9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оқу</a:t>
            </a:r>
            <a:r>
              <a:rPr lang="ru-RU" altLang="ru-RU" sz="9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136" name="Rectangle 59">
            <a:extLst>
              <a:ext uri="{FF2B5EF4-FFF2-40B4-BE49-F238E27FC236}">
                <a16:creationId xmlns:a16="http://schemas.microsoft.com/office/drawing/2014/main" id="{2656769C-005A-406F-A09B-343EB005D2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3914" y="4296823"/>
            <a:ext cx="2132612" cy="192112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10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ОӘО-да </a:t>
            </a:r>
            <a:r>
              <a:rPr lang="ru-RU" altLang="ru-RU" sz="10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біліктілікті</a:t>
            </a:r>
            <a:r>
              <a:rPr lang="ru-RU" altLang="ru-RU" sz="10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арттыру</a:t>
            </a:r>
            <a:endParaRPr kumimoji="0" lang="ru-RU" altLang="ru-RU" sz="10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7" name="Рисунок 136">
            <a:extLst>
              <a:ext uri="{FF2B5EF4-FFF2-40B4-BE49-F238E27FC236}">
                <a16:creationId xmlns:a16="http://schemas.microsoft.com/office/drawing/2014/main" id="{7BD423C4-86C2-70F5-E2E2-9C83DB64EA2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9652" y="4233305"/>
            <a:ext cx="350227" cy="275657"/>
          </a:xfrm>
          <a:prstGeom prst="rect">
            <a:avLst/>
          </a:prstGeom>
        </p:spPr>
      </p:pic>
      <p:pic>
        <p:nvPicPr>
          <p:cNvPr id="139" name="Рисунок 138" descr="Значок 4 контур">
            <a:extLst>
              <a:ext uri="{FF2B5EF4-FFF2-40B4-BE49-F238E27FC236}">
                <a16:creationId xmlns:a16="http://schemas.microsoft.com/office/drawing/2014/main" id="{F042CFC5-5D3B-BA5A-A76D-25E42EB3062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6859" y="3877392"/>
            <a:ext cx="233338" cy="237051"/>
          </a:xfrm>
          <a:prstGeom prst="rect">
            <a:avLst/>
          </a:prstGeom>
        </p:spPr>
      </p:pic>
      <p:sp>
        <p:nvSpPr>
          <p:cNvPr id="140" name="Rectangle 59">
            <a:extLst>
              <a:ext uri="{FF2B5EF4-FFF2-40B4-BE49-F238E27FC236}">
                <a16:creationId xmlns:a16="http://schemas.microsoft.com/office/drawing/2014/main" id="{0E13EDA7-BE55-FF25-3297-9498B9E87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1656" y="5827272"/>
            <a:ext cx="2811897" cy="2424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9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ОӘО-да5жылда 1 </a:t>
            </a:r>
            <a:r>
              <a:rPr lang="ru-RU" altLang="ru-RU" sz="9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рет</a:t>
            </a:r>
            <a:r>
              <a:rPr lang="ru-RU" altLang="ru-RU" sz="9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900" b="1" kern="0" dirty="0" err="1">
                <a:latin typeface="Century Gothic" panose="020B0502020202020204" pitchFamily="34" charset="0"/>
                <a:cs typeface="Arial" panose="020B0604020202020204" pitchFamily="34" charset="0"/>
              </a:rPr>
              <a:t>оқу</a:t>
            </a:r>
            <a:r>
              <a:rPr lang="ru-RU" altLang="ru-RU" sz="9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142" name="Rectangle 59">
            <a:extLst>
              <a:ext uri="{FF2B5EF4-FFF2-40B4-BE49-F238E27FC236}">
                <a16:creationId xmlns:a16="http://schemas.microsoft.com/office/drawing/2014/main" id="{56FFC51C-6FEA-E190-ABD5-9D6C47DB6A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5490" y="5456043"/>
            <a:ext cx="2778065" cy="33729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lnSpc>
                <a:spcPct val="107000"/>
              </a:lnSpc>
              <a:spcAft>
                <a:spcPts val="0"/>
              </a:spcAft>
              <a:buNone/>
              <a:tabLst>
                <a:tab pos="272415" algn="l"/>
              </a:tabLst>
            </a:pPr>
            <a:r>
              <a:rPr lang="ru-RU" sz="900" dirty="0" err="1">
                <a:latin typeface="Century Gothic" panose="020B0502020202020204" pitchFamily="34" charset="0"/>
                <a:cs typeface="Arial" panose="020B0604020202020204" pitchFamily="34" charset="0"/>
              </a:rPr>
              <a:t>Еңбек</a:t>
            </a:r>
            <a:r>
              <a:rPr lang="ru-RU" sz="9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latin typeface="Century Gothic" panose="020B0502020202020204" pitchFamily="34" charset="0"/>
                <a:cs typeface="Arial" panose="020B0604020202020204" pitchFamily="34" charset="0"/>
              </a:rPr>
              <a:t>жағдайлары</a:t>
            </a:r>
            <a:r>
              <a:rPr lang="ru-RU" sz="900" dirty="0">
                <a:latin typeface="Century Gothic" panose="020B0502020202020204" pitchFamily="34" charset="0"/>
                <a:cs typeface="Arial" panose="020B0604020202020204" pitchFamily="34" charset="0"/>
              </a:rPr>
              <a:t> мен КТ </a:t>
            </a:r>
            <a:r>
              <a:rPr lang="ru-RU" sz="900" dirty="0" err="1">
                <a:latin typeface="Century Gothic" panose="020B0502020202020204" pitchFamily="34" charset="0"/>
                <a:cs typeface="Arial" panose="020B0604020202020204" pitchFamily="34" charset="0"/>
              </a:rPr>
              <a:t>бағалау</a:t>
            </a:r>
            <a:r>
              <a:rPr lang="ru-RU" sz="9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latin typeface="Century Gothic" panose="020B0502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9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latin typeface="Century Gothic" panose="020B0502020202020204" pitchFamily="34" charset="0"/>
                <a:cs typeface="Arial" panose="020B0604020202020204" pitchFamily="34" charset="0"/>
              </a:rPr>
              <a:t>маман</a:t>
            </a:r>
            <a:endParaRPr lang="ru-RU" sz="9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Овал 142">
            <a:extLst>
              <a:ext uri="{FF2B5EF4-FFF2-40B4-BE49-F238E27FC236}">
                <a16:creationId xmlns:a16="http://schemas.microsoft.com/office/drawing/2014/main" id="{041567A7-7294-6818-8B35-66EED1F1950C}"/>
              </a:ext>
            </a:extLst>
          </p:cNvPr>
          <p:cNvSpPr/>
          <p:nvPr/>
        </p:nvSpPr>
        <p:spPr>
          <a:xfrm>
            <a:off x="4758486" y="5482435"/>
            <a:ext cx="186021" cy="165902"/>
          </a:xfrm>
          <a:prstGeom prst="ellipse">
            <a:avLst/>
          </a:prstGeom>
          <a:solidFill>
            <a:schemeClr val="bg1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1200" dirty="0">
                <a:solidFill>
                  <a:schemeClr val="accent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</a:t>
            </a:r>
            <a:endParaRPr lang="ru-RU" sz="1200" dirty="0">
              <a:solidFill>
                <a:schemeClr val="accent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8A56E8CF-3663-A806-BC30-BC20D363A94A}"/>
              </a:ext>
            </a:extLst>
          </p:cNvPr>
          <p:cNvSpPr txBox="1"/>
          <p:nvPr/>
        </p:nvSpPr>
        <p:spPr>
          <a:xfrm>
            <a:off x="5051259" y="4499096"/>
            <a:ext cx="2132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i="1" kern="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ілім</a:t>
            </a:r>
            <a:r>
              <a:rPr lang="ru-RU" sz="900" b="1" i="1" kern="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i="1" kern="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лушылардың</a:t>
            </a:r>
            <a:r>
              <a:rPr lang="ru-RU" sz="900" b="1" i="1" kern="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3 </a:t>
            </a:r>
            <a:r>
              <a:rPr lang="ru-RU" sz="900" b="1" i="1" kern="0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наты</a:t>
            </a:r>
            <a:endParaRPr lang="ru-RU" sz="900" b="1" i="1" kern="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bject 4">
            <a:extLst>
              <a:ext uri="{FF2B5EF4-FFF2-40B4-BE49-F238E27FC236}">
                <a16:creationId xmlns:a16="http://schemas.microsoft.com/office/drawing/2014/main" id="{8F80945C-76C1-66A0-3241-D414CD045503}"/>
              </a:ext>
            </a:extLst>
          </p:cNvPr>
          <p:cNvSpPr/>
          <p:nvPr/>
        </p:nvSpPr>
        <p:spPr>
          <a:xfrm>
            <a:off x="153923" y="590057"/>
            <a:ext cx="11562080" cy="0"/>
          </a:xfrm>
          <a:custGeom>
            <a:avLst/>
            <a:gdLst/>
            <a:ahLst/>
            <a:cxnLst/>
            <a:rect l="l" t="t" r="r" b="b"/>
            <a:pathLst>
              <a:path w="11562080">
                <a:moveTo>
                  <a:pt x="0" y="0"/>
                </a:moveTo>
                <a:lnTo>
                  <a:pt x="11561699" y="0"/>
                </a:lnTo>
              </a:path>
            </a:pathLst>
          </a:custGeom>
          <a:ln w="6350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7">
            <a:extLst>
              <a:ext uri="{FF2B5EF4-FFF2-40B4-BE49-F238E27FC236}">
                <a16:creationId xmlns:a16="http://schemas.microsoft.com/office/drawing/2014/main" id="{3E538C3B-3591-D724-5E6F-DEF5ACAE5211}"/>
              </a:ext>
            </a:extLst>
          </p:cNvPr>
          <p:cNvSpPr txBox="1"/>
          <p:nvPr/>
        </p:nvSpPr>
        <p:spPr>
          <a:xfrm>
            <a:off x="153923" y="160681"/>
            <a:ext cx="12038077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4440555" algn="l"/>
              </a:tabLst>
            </a:pPr>
            <a:r>
              <a:rPr lang="ru-RU" sz="1800" b="1" spc="-35" dirty="0">
                <a:solidFill>
                  <a:srgbClr val="001F5F"/>
                </a:solidFill>
                <a:latin typeface="Arial"/>
                <a:cs typeface="Arial"/>
              </a:rPr>
              <a:t>ЕҢБЕКТІ ҚОРҒАУДЫҢ ЖАҢА ИДЕОЛОГИЯСЫ</a:t>
            </a:r>
            <a:r>
              <a:rPr sz="1800" b="1" spc="-30" dirty="0">
                <a:solidFill>
                  <a:srgbClr val="001F5F"/>
                </a:solidFill>
                <a:latin typeface="Arial"/>
                <a:cs typeface="Arial"/>
              </a:rPr>
              <a:t>:</a:t>
            </a:r>
            <a:r>
              <a:rPr lang="kk-KZ" sz="1800" b="1" spc="-30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lang="ru-RU" sz="1800" b="1" spc="-5" dirty="0" err="1">
                <a:solidFill>
                  <a:srgbClr val="001F5F"/>
                </a:solidFill>
                <a:latin typeface="Arial"/>
                <a:cs typeface="Arial"/>
              </a:rPr>
              <a:t>еңбекті</a:t>
            </a:r>
            <a:r>
              <a:rPr lang="ru-RU" sz="1800" b="1" spc="-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lang="ru-RU" sz="1800" b="1" spc="-5" dirty="0" err="1">
                <a:solidFill>
                  <a:srgbClr val="001F5F"/>
                </a:solidFill>
                <a:latin typeface="Arial"/>
                <a:cs typeface="Arial"/>
              </a:rPr>
              <a:t>қорғау</a:t>
            </a:r>
            <a:r>
              <a:rPr lang="ru-RU" sz="1800" b="1" spc="-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lang="ru-RU" sz="1800" b="1" spc="-5" dirty="0" err="1">
                <a:solidFill>
                  <a:srgbClr val="001F5F"/>
                </a:solidFill>
                <a:latin typeface="Arial"/>
                <a:cs typeface="Arial"/>
              </a:rPr>
              <a:t>саласындағы</a:t>
            </a:r>
            <a:r>
              <a:rPr lang="ru-RU" sz="1800" b="1" spc="-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lang="ru-RU" sz="1800" b="1" spc="-5" dirty="0" err="1">
                <a:solidFill>
                  <a:srgbClr val="001F5F"/>
                </a:solidFill>
                <a:latin typeface="Arial"/>
                <a:cs typeface="Arial"/>
              </a:rPr>
              <a:t>кәсіптік</a:t>
            </a:r>
            <a:r>
              <a:rPr lang="ru-RU" sz="1800" b="1" spc="-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lang="ru-RU" sz="1800" b="1" spc="-5" dirty="0" err="1">
                <a:solidFill>
                  <a:srgbClr val="001F5F"/>
                </a:solidFill>
                <a:latin typeface="Arial"/>
                <a:cs typeface="Arial"/>
              </a:rPr>
              <a:t>құзыреттерді</a:t>
            </a:r>
            <a:r>
              <a:rPr lang="ru-RU" sz="1800" b="1" spc="-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lang="ru-RU" sz="1800" b="1" spc="-5" dirty="0" err="1">
                <a:solidFill>
                  <a:srgbClr val="001F5F"/>
                </a:solidFill>
                <a:latin typeface="Arial"/>
                <a:cs typeface="Arial"/>
              </a:rPr>
              <a:t>дамыту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26" name="Блок-схема: ссылка на другую страницу 25">
            <a:extLst>
              <a:ext uri="{FF2B5EF4-FFF2-40B4-BE49-F238E27FC236}">
                <a16:creationId xmlns:a16="http://schemas.microsoft.com/office/drawing/2014/main" id="{5D43B3A9-DB12-C641-0757-104BD2F09B69}"/>
              </a:ext>
            </a:extLst>
          </p:cNvPr>
          <p:cNvSpPr/>
          <p:nvPr/>
        </p:nvSpPr>
        <p:spPr>
          <a:xfrm>
            <a:off x="125855" y="4035969"/>
            <a:ext cx="729361" cy="540620"/>
          </a:xfrm>
          <a:prstGeom prst="flowChartOffpageConnector">
            <a:avLst/>
          </a:prstGeom>
          <a:solidFill>
            <a:schemeClr val="accent1">
              <a:lumMod val="20000"/>
              <a:lumOff val="8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0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72 </a:t>
            </a:r>
            <a:r>
              <a:rPr lang="ru-RU" sz="10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сағат</a:t>
            </a:r>
            <a:endParaRPr lang="ru-RU" sz="10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endParaRPr lang="ru-RU" sz="10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7" name="Блок-схема: ссылка на другую страницу 26">
            <a:extLst>
              <a:ext uri="{FF2B5EF4-FFF2-40B4-BE49-F238E27FC236}">
                <a16:creationId xmlns:a16="http://schemas.microsoft.com/office/drawing/2014/main" id="{1672BD3A-1BFC-5C63-E2DA-B449C390926D}"/>
              </a:ext>
            </a:extLst>
          </p:cNvPr>
          <p:cNvSpPr/>
          <p:nvPr/>
        </p:nvSpPr>
        <p:spPr>
          <a:xfrm>
            <a:off x="106840" y="4623308"/>
            <a:ext cx="750184" cy="540620"/>
          </a:xfrm>
          <a:prstGeom prst="flowChartOffpageConnector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40 </a:t>
            </a:r>
            <a:r>
              <a:rPr lang="ru-RU" sz="10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сағат</a:t>
            </a:r>
            <a:endParaRPr lang="ru-RU" sz="10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8" name="Блок-схема: ссылка на другую страницу 27">
            <a:extLst>
              <a:ext uri="{FF2B5EF4-FFF2-40B4-BE49-F238E27FC236}">
                <a16:creationId xmlns:a16="http://schemas.microsoft.com/office/drawing/2014/main" id="{1CAEF386-EF40-9D0B-135E-3014C760BC6D}"/>
              </a:ext>
            </a:extLst>
          </p:cNvPr>
          <p:cNvSpPr/>
          <p:nvPr/>
        </p:nvSpPr>
        <p:spPr>
          <a:xfrm>
            <a:off x="112414" y="5228224"/>
            <a:ext cx="752730" cy="540620"/>
          </a:xfrm>
          <a:prstGeom prst="flowChartOffpageConnector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24 </a:t>
            </a:r>
            <a:r>
              <a:rPr lang="ru-RU" sz="10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сағат</a:t>
            </a:r>
            <a:endParaRPr lang="ru-RU" sz="10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Блок-схема: ссылка на другую страницу 31">
            <a:extLst>
              <a:ext uri="{FF2B5EF4-FFF2-40B4-BE49-F238E27FC236}">
                <a16:creationId xmlns:a16="http://schemas.microsoft.com/office/drawing/2014/main" id="{232B0A04-4A47-A9E6-486F-1534166B69B4}"/>
              </a:ext>
            </a:extLst>
          </p:cNvPr>
          <p:cNvSpPr/>
          <p:nvPr/>
        </p:nvSpPr>
        <p:spPr>
          <a:xfrm>
            <a:off x="3338286" y="4033251"/>
            <a:ext cx="776719" cy="540620"/>
          </a:xfrm>
          <a:prstGeom prst="flowChartOffpageConnector">
            <a:avLst/>
          </a:prstGeom>
          <a:solidFill>
            <a:srgbClr val="4BACC6">
              <a:lumMod val="20000"/>
              <a:lumOff val="80000"/>
            </a:srgbClr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40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ағат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3" name="Блок-схема: ссылка на другую страницу 32">
            <a:extLst>
              <a:ext uri="{FF2B5EF4-FFF2-40B4-BE49-F238E27FC236}">
                <a16:creationId xmlns:a16="http://schemas.microsoft.com/office/drawing/2014/main" id="{0200BD26-3AFE-C231-0002-79A726A3FD6D}"/>
              </a:ext>
            </a:extLst>
          </p:cNvPr>
          <p:cNvSpPr/>
          <p:nvPr/>
        </p:nvSpPr>
        <p:spPr>
          <a:xfrm>
            <a:off x="3337732" y="4642851"/>
            <a:ext cx="777829" cy="540620"/>
          </a:xfrm>
          <a:prstGeom prst="flowChartOffpageConnector">
            <a:avLst/>
          </a:prstGeom>
          <a:solidFill>
            <a:srgbClr val="4BACC6">
              <a:lumMod val="40000"/>
              <a:lumOff val="60000"/>
            </a:srgbClr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4 </a:t>
            </a:r>
            <a:r>
              <a:rPr kumimoji="0" lang="ru-RU" sz="10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ағат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4" name="Блок-схема: ссылка на другую страницу 33">
            <a:extLst>
              <a:ext uri="{FF2B5EF4-FFF2-40B4-BE49-F238E27FC236}">
                <a16:creationId xmlns:a16="http://schemas.microsoft.com/office/drawing/2014/main" id="{E95F3848-21B9-18B6-38C1-3D7A2134AE23}"/>
              </a:ext>
            </a:extLst>
          </p:cNvPr>
          <p:cNvSpPr/>
          <p:nvPr/>
        </p:nvSpPr>
        <p:spPr>
          <a:xfrm>
            <a:off x="3339320" y="5290102"/>
            <a:ext cx="774655" cy="540620"/>
          </a:xfrm>
          <a:prstGeom prst="flowChartOffpageConnector">
            <a:avLst/>
          </a:prstGeom>
          <a:solidFill>
            <a:srgbClr val="4BACC6">
              <a:lumMod val="60000"/>
              <a:lumOff val="40000"/>
            </a:srgbClr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6 </a:t>
            </a:r>
            <a:r>
              <a:rPr kumimoji="0" lang="ru-RU" sz="10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ағат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5" name="Стрелка вправо 161">
            <a:extLst>
              <a:ext uri="{FF2B5EF4-FFF2-40B4-BE49-F238E27FC236}">
                <a16:creationId xmlns:a16="http://schemas.microsoft.com/office/drawing/2014/main" id="{F90267C6-7B83-CFC5-FF23-4FA9AEC0FA83}"/>
              </a:ext>
            </a:extLst>
          </p:cNvPr>
          <p:cNvSpPr/>
          <p:nvPr/>
        </p:nvSpPr>
        <p:spPr>
          <a:xfrm>
            <a:off x="7859674" y="1406132"/>
            <a:ext cx="671126" cy="123335"/>
          </a:xfrm>
          <a:prstGeom prst="right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39" name="Блок-схема: ссылка на другую страницу 38">
            <a:extLst>
              <a:ext uri="{FF2B5EF4-FFF2-40B4-BE49-F238E27FC236}">
                <a16:creationId xmlns:a16="http://schemas.microsoft.com/office/drawing/2014/main" id="{3E6B7B28-E18C-86F3-C42F-CCA45BD721DE}"/>
              </a:ext>
            </a:extLst>
          </p:cNvPr>
          <p:cNvSpPr/>
          <p:nvPr/>
        </p:nvSpPr>
        <p:spPr>
          <a:xfrm>
            <a:off x="7991483" y="2160623"/>
            <a:ext cx="581706" cy="329852"/>
          </a:xfrm>
          <a:prstGeom prst="flowChartOffpageConnector">
            <a:avLst/>
          </a:prstGeom>
          <a:solidFill>
            <a:srgbClr val="CC0000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6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ағат</a:t>
            </a:r>
            <a:endParaRPr kumimoji="0" lang="ru-RU" sz="7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0" name="Блок-схема: ссылка на другую страницу 39">
            <a:extLst>
              <a:ext uri="{FF2B5EF4-FFF2-40B4-BE49-F238E27FC236}">
                <a16:creationId xmlns:a16="http://schemas.microsoft.com/office/drawing/2014/main" id="{E8D375B0-60EA-B3E2-CF67-6A7408B3D061}"/>
              </a:ext>
            </a:extLst>
          </p:cNvPr>
          <p:cNvSpPr/>
          <p:nvPr/>
        </p:nvSpPr>
        <p:spPr>
          <a:xfrm>
            <a:off x="8008541" y="2625453"/>
            <a:ext cx="581706" cy="282587"/>
          </a:xfrm>
          <a:prstGeom prst="flowChartOffpageConnector">
            <a:avLst/>
          </a:prstGeom>
          <a:solidFill>
            <a:srgbClr val="FF7C80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16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700" b="1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сағат</a:t>
            </a:r>
            <a:endParaRPr kumimoji="0" lang="ru-RU" sz="7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1" name="Блок-схема: ссылка на другую страницу 40">
            <a:extLst>
              <a:ext uri="{FF2B5EF4-FFF2-40B4-BE49-F238E27FC236}">
                <a16:creationId xmlns:a16="http://schemas.microsoft.com/office/drawing/2014/main" id="{36FC30F6-485C-4C6B-B363-F60C53F709EC}"/>
              </a:ext>
            </a:extLst>
          </p:cNvPr>
          <p:cNvSpPr/>
          <p:nvPr/>
        </p:nvSpPr>
        <p:spPr>
          <a:xfrm>
            <a:off x="7997329" y="3030341"/>
            <a:ext cx="581706" cy="329852"/>
          </a:xfrm>
          <a:prstGeom prst="flowChartOffpageConnector">
            <a:avLst/>
          </a:prstGeom>
          <a:solidFill>
            <a:srgbClr val="8064A2">
              <a:lumMod val="40000"/>
              <a:lumOff val="60000"/>
            </a:srgbClr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40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ағат</a:t>
            </a:r>
            <a:endParaRPr kumimoji="0" lang="ru-RU" sz="7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2" name="Rectangle 59">
            <a:extLst>
              <a:ext uri="{FF2B5EF4-FFF2-40B4-BE49-F238E27FC236}">
                <a16:creationId xmlns:a16="http://schemas.microsoft.com/office/drawing/2014/main" id="{74B50A76-76FD-0C15-716C-99E9BE3E6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9227" y="6103653"/>
            <a:ext cx="2780681" cy="2262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lnSpc>
                <a:spcPct val="107000"/>
              </a:lnSpc>
              <a:spcAft>
                <a:spcPts val="0"/>
              </a:spcAft>
              <a:buNone/>
              <a:tabLst>
                <a:tab pos="272415" algn="l"/>
              </a:tabLst>
            </a:pPr>
            <a:r>
              <a:rPr lang="kk-KZ" sz="800" dirty="0">
                <a:latin typeface="Century Gothic" panose="020B0502020202020204" pitchFamily="34" charset="0"/>
              </a:rPr>
              <a:t>ЕҚ бойынша</a:t>
            </a:r>
            <a:r>
              <a:rPr lang="en-US" sz="800" dirty="0">
                <a:latin typeface="Century Gothic" panose="020B0502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</a:rPr>
              <a:t>оқыту</a:t>
            </a:r>
            <a:r>
              <a:rPr lang="ru-RU" sz="800" dirty="0">
                <a:latin typeface="Century Gothic" panose="020B0502020202020204" pitchFamily="34" charset="0"/>
              </a:rPr>
              <a:t> </a:t>
            </a:r>
            <a:r>
              <a:rPr lang="ru-RU" sz="800" dirty="0" err="1">
                <a:latin typeface="Century Gothic" panose="020B0502020202020204" pitchFamily="34" charset="0"/>
              </a:rPr>
              <a:t>маманы</a:t>
            </a:r>
            <a:endParaRPr lang="ru-RU" sz="800" dirty="0">
              <a:latin typeface="Century Gothic" panose="020B0502020202020204" pitchFamily="34" charset="0"/>
            </a:endParaRPr>
          </a:p>
        </p:txBody>
      </p:sp>
      <p:sp>
        <p:nvSpPr>
          <p:cNvPr id="44" name="Овал 43">
            <a:extLst>
              <a:ext uri="{FF2B5EF4-FFF2-40B4-BE49-F238E27FC236}">
                <a16:creationId xmlns:a16="http://schemas.microsoft.com/office/drawing/2014/main" id="{709F5B95-EC64-022A-07D4-5D83EFBF8180}"/>
              </a:ext>
            </a:extLst>
          </p:cNvPr>
          <p:cNvSpPr/>
          <p:nvPr/>
        </p:nvSpPr>
        <p:spPr>
          <a:xfrm>
            <a:off x="4772706" y="6040007"/>
            <a:ext cx="224063" cy="19670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1100" dirty="0">
                <a:solidFill>
                  <a:schemeClr val="accent1"/>
                </a:solidFill>
              </a:rPr>
              <a:t>3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45" name="Блок-схема: ссылка на другую страницу 44">
            <a:extLst>
              <a:ext uri="{FF2B5EF4-FFF2-40B4-BE49-F238E27FC236}">
                <a16:creationId xmlns:a16="http://schemas.microsoft.com/office/drawing/2014/main" id="{2D282C0E-08D7-C808-AFAC-07BC12271FF0}"/>
              </a:ext>
            </a:extLst>
          </p:cNvPr>
          <p:cNvSpPr/>
          <p:nvPr/>
        </p:nvSpPr>
        <p:spPr>
          <a:xfrm>
            <a:off x="8004720" y="3836187"/>
            <a:ext cx="581706" cy="329852"/>
          </a:xfrm>
          <a:prstGeom prst="flowChartOffpageConnector">
            <a:avLst/>
          </a:prstGeom>
          <a:solidFill>
            <a:srgbClr val="FF7C8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b="1" dirty="0">
                <a:solidFill>
                  <a:schemeClr val="tx1"/>
                </a:solidFill>
                <a:latin typeface="Century Gothic" panose="020B0502020202020204" pitchFamily="34" charset="0"/>
              </a:rPr>
              <a:t>40</a:t>
            </a:r>
          </a:p>
          <a:p>
            <a:pPr algn="ctr"/>
            <a:r>
              <a:rPr lang="ru-RU" sz="7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сағат</a:t>
            </a:r>
            <a:endParaRPr lang="ru-RU" sz="7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8" name="Блок-схема: ссылка на другую страницу 47">
            <a:extLst>
              <a:ext uri="{FF2B5EF4-FFF2-40B4-BE49-F238E27FC236}">
                <a16:creationId xmlns:a16="http://schemas.microsoft.com/office/drawing/2014/main" id="{533915A6-489F-9E2C-E7D9-C627769FBE1D}"/>
              </a:ext>
            </a:extLst>
          </p:cNvPr>
          <p:cNvSpPr/>
          <p:nvPr/>
        </p:nvSpPr>
        <p:spPr>
          <a:xfrm>
            <a:off x="7989093" y="6130038"/>
            <a:ext cx="607287" cy="270763"/>
          </a:xfrm>
          <a:prstGeom prst="flowChartOffpageConnector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80 </a:t>
            </a:r>
            <a:r>
              <a:rPr kumimoji="0" lang="ru-RU" sz="7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ағат</a:t>
            </a:r>
            <a:endParaRPr kumimoji="0" lang="ru-RU" sz="7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9" name="Блок-схема: ссылка на другую страницу 48">
            <a:extLst>
              <a:ext uri="{FF2B5EF4-FFF2-40B4-BE49-F238E27FC236}">
                <a16:creationId xmlns:a16="http://schemas.microsoft.com/office/drawing/2014/main" id="{2D728BC1-1830-350D-B106-D7758A7AC5CC}"/>
              </a:ext>
            </a:extLst>
          </p:cNvPr>
          <p:cNvSpPr/>
          <p:nvPr/>
        </p:nvSpPr>
        <p:spPr>
          <a:xfrm>
            <a:off x="8018372" y="5514788"/>
            <a:ext cx="581706" cy="266682"/>
          </a:xfrm>
          <a:prstGeom prst="flowChartOffpageConnector">
            <a:avLst/>
          </a:prstGeom>
          <a:solidFill>
            <a:srgbClr val="8064A2">
              <a:lumMod val="40000"/>
              <a:lumOff val="60000"/>
            </a:srgbClr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72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ағат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0" name="Блок-схема: ссылка на другую страницу 49">
            <a:extLst>
              <a:ext uri="{FF2B5EF4-FFF2-40B4-BE49-F238E27FC236}">
                <a16:creationId xmlns:a16="http://schemas.microsoft.com/office/drawing/2014/main" id="{677E4041-E295-1886-0A56-2A3C6A87F119}"/>
              </a:ext>
            </a:extLst>
          </p:cNvPr>
          <p:cNvSpPr/>
          <p:nvPr/>
        </p:nvSpPr>
        <p:spPr>
          <a:xfrm>
            <a:off x="8014256" y="5175909"/>
            <a:ext cx="581706" cy="266682"/>
          </a:xfrm>
          <a:prstGeom prst="flowChartOffpageConnector">
            <a:avLst/>
          </a:prstGeom>
          <a:solidFill>
            <a:srgbClr val="AEC6DC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40 </a:t>
            </a:r>
            <a:r>
              <a:rPr kumimoji="0" lang="ru-RU" sz="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ағат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05142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46">
            <a:extLst>
              <a:ext uri="{FF2B5EF4-FFF2-40B4-BE49-F238E27FC236}">
                <a16:creationId xmlns:a16="http://schemas.microsoft.com/office/drawing/2014/main" id="{B8567567-B74D-183D-4583-C6A8054B9C3B}"/>
              </a:ext>
            </a:extLst>
          </p:cNvPr>
          <p:cNvSpPr/>
          <p:nvPr/>
        </p:nvSpPr>
        <p:spPr>
          <a:xfrm>
            <a:off x="182562" y="1063625"/>
            <a:ext cx="4500563" cy="5592763"/>
          </a:xfrm>
          <a:prstGeom prst="homePlate">
            <a:avLst>
              <a:gd name="adj" fmla="val 13243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12000" rIns="0" bIns="0"/>
          <a:lstStyle/>
          <a:p>
            <a:pPr algn="ctr" defTabSz="914324">
              <a:defRPr/>
            </a:pPr>
            <a:endParaRPr lang="en-US" sz="1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C5D6B7F6-1FC3-9A04-7F11-0ED56BBD0C7A}"/>
              </a:ext>
            </a:extLst>
          </p:cNvPr>
          <p:cNvSpPr/>
          <p:nvPr/>
        </p:nvSpPr>
        <p:spPr>
          <a:xfrm>
            <a:off x="4927600" y="1063625"/>
            <a:ext cx="7146925" cy="5592763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16" name="TextBox 61">
            <a:extLst>
              <a:ext uri="{FF2B5EF4-FFF2-40B4-BE49-F238E27FC236}">
                <a16:creationId xmlns:a16="http://schemas.microsoft.com/office/drawing/2014/main" id="{82575EED-8C62-5996-64E4-5575E06B01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2250" y="695325"/>
            <a:ext cx="286226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ІР</a:t>
            </a:r>
          </a:p>
        </p:txBody>
      </p:sp>
      <p:sp>
        <p:nvSpPr>
          <p:cNvPr id="13317" name="TextBox 61">
            <a:extLst>
              <a:ext uri="{FF2B5EF4-FFF2-40B4-BE49-F238E27FC236}">
                <a16:creationId xmlns:a16="http://schemas.microsoft.com/office/drawing/2014/main" id="{013B3470-4AE5-F604-0D3D-0AF6317344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9075" y="751129"/>
            <a:ext cx="286226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Й БОЛАДЫ</a:t>
            </a:r>
          </a:p>
        </p:txBody>
      </p:sp>
      <p:graphicFrame>
        <p:nvGraphicFramePr>
          <p:cNvPr id="13318" name="Объект 4" hidden="1">
            <a:extLst>
              <a:ext uri="{FF2B5EF4-FFF2-40B4-BE49-F238E27FC236}">
                <a16:creationId xmlns:a16="http://schemas.microsoft.com/office/drawing/2014/main" id="{BADCBD80-B144-961D-8820-0427467A57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13318" name="Объект 4" hidden="1">
                        <a:extLst>
                          <a:ext uri="{FF2B5EF4-FFF2-40B4-BE49-F238E27FC236}">
                            <a16:creationId xmlns:a16="http://schemas.microsoft.com/office/drawing/2014/main" id="{BADCBD80-B144-961D-8820-0427467A57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2E097A31-E4BE-E892-200A-1F38F34B8EA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4346">
              <a:defRPr/>
            </a:pPr>
            <a:endParaRPr lang="en-US" sz="1200" dirty="0">
              <a:solidFill>
                <a:prstClr val="white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52" name="Прямоугольник 51" hidden="1">
            <a:extLst>
              <a:ext uri="{FF2B5EF4-FFF2-40B4-BE49-F238E27FC236}">
                <a16:creationId xmlns:a16="http://schemas.microsoft.com/office/drawing/2014/main" id="{C1E8115C-9246-4E56-1E2A-09FE96B668A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4346">
              <a:defRPr/>
            </a:pP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28" name="TextBox 1">
            <a:extLst>
              <a:ext uri="{FF2B5EF4-FFF2-40B4-BE49-F238E27FC236}">
                <a16:creationId xmlns:a16="http://schemas.microsoft.com/office/drawing/2014/main" id="{9C3280CF-F1BB-2E00-5860-0A8AD90205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5275" y="1146175"/>
            <a:ext cx="6499225" cy="307975"/>
          </a:xfrm>
          <a:prstGeom prst="rect">
            <a:avLst/>
          </a:prstGeom>
          <a:solidFill>
            <a:srgbClr val="DEEBF7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791779">
              <a:defRPr/>
            </a:pPr>
            <a:r>
              <a:rPr lang="kk-KZ" altLang="ru-RU" b="1" kern="0" dirty="0">
                <a:solidFill>
                  <a:schemeClr val="tx1"/>
                </a:solidFill>
              </a:rPr>
              <a:t>ТДЖ негізіндегі мемлекеттік бақылаудың автоматты жүйесі</a:t>
            </a:r>
            <a:endParaRPr lang="ru-RU" altLang="ru-RU" b="1" kern="0" dirty="0">
              <a:solidFill>
                <a:schemeClr val="tx1"/>
              </a:solidFill>
            </a:endParaRPr>
          </a:p>
        </p:txBody>
      </p:sp>
      <p:pic>
        <p:nvPicPr>
          <p:cNvPr id="13323" name="Рисунок 34">
            <a:extLst>
              <a:ext uri="{FF2B5EF4-FFF2-40B4-BE49-F238E27FC236}">
                <a16:creationId xmlns:a16="http://schemas.microsoft.com/office/drawing/2014/main" id="{147BAB00-EF68-D19B-BF51-5394B769DCE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5454650" y="1878013"/>
            <a:ext cx="566738" cy="65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FED56C60-75DE-A29E-EA8A-5186B30FBA94}"/>
              </a:ext>
            </a:extLst>
          </p:cNvPr>
          <p:cNvSpPr/>
          <p:nvPr/>
        </p:nvSpPr>
        <p:spPr>
          <a:xfrm>
            <a:off x="4286250" y="1916113"/>
            <a:ext cx="1803400" cy="23082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Google Shape;135;g1dfcdd6f6ef_0_0">
            <a:extLst>
              <a:ext uri="{FF2B5EF4-FFF2-40B4-BE49-F238E27FC236}">
                <a16:creationId xmlns:a16="http://schemas.microsoft.com/office/drawing/2014/main" id="{5DE4760E-4AD0-7BA2-01E2-899423D6F146}"/>
              </a:ext>
            </a:extLst>
          </p:cNvPr>
          <p:cNvSpPr/>
          <p:nvPr/>
        </p:nvSpPr>
        <p:spPr>
          <a:xfrm>
            <a:off x="5299075" y="3659973"/>
            <a:ext cx="6575425" cy="946150"/>
          </a:xfrm>
          <a:prstGeom prst="rect">
            <a:avLst/>
          </a:prstGeom>
          <a:noFill/>
          <a:ln w="1270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lIns="79165" tIns="39572" rIns="79165" bIns="39572"/>
          <a:lstStyle/>
          <a:p>
            <a:pPr algn="ctr" defTabSz="791779">
              <a:buClr>
                <a:srgbClr val="000000"/>
              </a:buClr>
              <a:buSzPts val="1200"/>
              <a:defRPr/>
            </a:pPr>
            <a:endParaRPr sz="1039" b="1" kern="0" dirty="0">
              <a:solidFill>
                <a:srgbClr val="000000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  <a:sym typeface="Montserrat"/>
            </a:endParaRPr>
          </a:p>
          <a:p>
            <a:pPr algn="ctr" defTabSz="791779">
              <a:buClr>
                <a:srgbClr val="000000"/>
              </a:buClr>
              <a:buSzPts val="1200"/>
              <a:defRPr/>
            </a:pPr>
            <a:endParaRPr sz="1039" b="1" kern="0" dirty="0">
              <a:solidFill>
                <a:srgbClr val="000000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  <a:sym typeface="Montserrat"/>
            </a:endParaRPr>
          </a:p>
          <a:p>
            <a:pPr algn="ctr" defTabSz="791779">
              <a:buClr>
                <a:srgbClr val="000000"/>
              </a:buClr>
              <a:buSzPts val="1200"/>
              <a:defRPr/>
            </a:pPr>
            <a:endParaRPr lang="ru-RU" sz="1039" b="1" kern="0" dirty="0">
              <a:solidFill>
                <a:srgbClr val="000000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  <a:sym typeface="Montserrat"/>
            </a:endParaRPr>
          </a:p>
          <a:p>
            <a:pPr algn="ctr" defTabSz="791779">
              <a:buClr>
                <a:srgbClr val="000000"/>
              </a:buClr>
              <a:buSzPts val="1200"/>
              <a:defRPr/>
            </a:pPr>
            <a:endParaRPr lang="ru-RU" sz="1039" b="1" kern="0" dirty="0">
              <a:solidFill>
                <a:srgbClr val="B31942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  <a:sym typeface="Montserrat"/>
            </a:endParaRPr>
          </a:p>
        </p:txBody>
      </p:sp>
      <p:sp>
        <p:nvSpPr>
          <p:cNvPr id="62" name="Google Shape;140;g1dfcdd6f6ef_0_0">
            <a:extLst>
              <a:ext uri="{FF2B5EF4-FFF2-40B4-BE49-F238E27FC236}">
                <a16:creationId xmlns:a16="http://schemas.microsoft.com/office/drawing/2014/main" id="{2127E6F3-0036-861B-B7EA-F5E2921F4CC1}"/>
              </a:ext>
            </a:extLst>
          </p:cNvPr>
          <p:cNvSpPr/>
          <p:nvPr/>
        </p:nvSpPr>
        <p:spPr>
          <a:xfrm>
            <a:off x="6328570" y="3827186"/>
            <a:ext cx="4122737" cy="719137"/>
          </a:xfrm>
          <a:prstGeom prst="rect">
            <a:avLst/>
          </a:prstGeom>
          <a:noFill/>
          <a:ln>
            <a:noFill/>
          </a:ln>
        </p:spPr>
        <p:txBody>
          <a:bodyPr spcFirstLastPara="1" lIns="79165" tIns="39572" rIns="79165" bIns="39572"/>
          <a:lstStyle/>
          <a:p>
            <a:pPr algn="ctr" defTabSz="791779">
              <a:buClr>
                <a:srgbClr val="000000"/>
              </a:buClr>
              <a:buSzPts val="1200"/>
              <a:defRPr/>
            </a:pPr>
            <a:r>
              <a:rPr lang="ru-RU" sz="1400" b="1" kern="0" dirty="0" err="1">
                <a:solidFill>
                  <a:srgbClr val="000000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Тексеру</a:t>
            </a:r>
            <a:r>
              <a:rPr lang="ru-RU" sz="1400" b="1" kern="0" dirty="0">
                <a:solidFill>
                  <a:srgbClr val="000000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 </a:t>
            </a:r>
            <a:r>
              <a:rPr lang="ru-RU" sz="1400" b="1" kern="0" dirty="0" err="1">
                <a:solidFill>
                  <a:srgbClr val="000000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мақсатында</a:t>
            </a:r>
            <a:r>
              <a:rPr lang="ru-RU" sz="1400" b="1" kern="0" dirty="0">
                <a:solidFill>
                  <a:srgbClr val="000000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 </a:t>
            </a:r>
            <a:r>
              <a:rPr lang="ru-RU" sz="1400" b="1" kern="0" dirty="0" err="1">
                <a:solidFill>
                  <a:srgbClr val="000000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кәсіпорындарды</a:t>
            </a:r>
            <a:r>
              <a:rPr lang="ru-RU" sz="1400" b="1" kern="0" dirty="0">
                <a:solidFill>
                  <a:srgbClr val="000000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 </a:t>
            </a:r>
            <a:r>
              <a:rPr lang="ru-RU" sz="1400" b="1" kern="0" dirty="0" err="1">
                <a:solidFill>
                  <a:srgbClr val="000000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автоматты</a:t>
            </a:r>
            <a:r>
              <a:rPr lang="ru-RU" sz="1400" b="1" kern="0" dirty="0">
                <a:solidFill>
                  <a:srgbClr val="000000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 </a:t>
            </a:r>
            <a:r>
              <a:rPr lang="ru-RU" sz="1400" b="1" kern="0" dirty="0" err="1">
                <a:solidFill>
                  <a:srgbClr val="000000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түрде</a:t>
            </a:r>
            <a:r>
              <a:rPr lang="ru-RU" sz="1400" b="1" kern="0" dirty="0">
                <a:solidFill>
                  <a:srgbClr val="000000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 </a:t>
            </a:r>
            <a:r>
              <a:rPr lang="ru-RU" sz="1400" b="1" kern="0" dirty="0" err="1">
                <a:solidFill>
                  <a:srgbClr val="000000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анықтау</a:t>
            </a:r>
            <a:endParaRPr sz="1400" b="1" kern="0" dirty="0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3" name="Google Shape;141;g1dfcdd6f6ef_0_0">
            <a:extLst>
              <a:ext uri="{FF2B5EF4-FFF2-40B4-BE49-F238E27FC236}">
                <a16:creationId xmlns:a16="http://schemas.microsoft.com/office/drawing/2014/main" id="{D4D479EE-9082-9CB7-BF3D-C7D1C44C3D6F}"/>
              </a:ext>
            </a:extLst>
          </p:cNvPr>
          <p:cNvSpPr/>
          <p:nvPr/>
        </p:nvSpPr>
        <p:spPr>
          <a:xfrm rot="16200000">
            <a:off x="10811670" y="3781416"/>
            <a:ext cx="728662" cy="790575"/>
          </a:xfrm>
          <a:prstGeom prst="hexagon">
            <a:avLst>
              <a:gd name="adj" fmla="val 25000"/>
              <a:gd name="vf" fmla="val 115470"/>
            </a:avLst>
          </a:prstGeom>
          <a:solidFill>
            <a:srgbClr val="FFFFFF"/>
          </a:solidFill>
          <a:ln w="9525" cap="flat" cmpd="sng">
            <a:solidFill>
              <a:srgbClr val="0A316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lIns="79165" tIns="39572" rIns="79165" bIns="39572" anchor="ctr"/>
          <a:lstStyle/>
          <a:p>
            <a:pPr algn="ctr" defTabSz="791779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defRPr/>
            </a:pPr>
            <a:endParaRPr sz="1212" kern="0">
              <a:solidFill>
                <a:srgbClr val="FFFFFF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17C9AC5-421F-26A6-790D-CCCF1E685A10}"/>
              </a:ext>
            </a:extLst>
          </p:cNvPr>
          <p:cNvSpPr/>
          <p:nvPr/>
        </p:nvSpPr>
        <p:spPr>
          <a:xfrm>
            <a:off x="5837865" y="2332489"/>
            <a:ext cx="1314784" cy="2788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91779">
              <a:defRPr/>
            </a:pPr>
            <a:r>
              <a:rPr lang="ru-RU" sz="1212" b="1" kern="0" dirty="0">
                <a:latin typeface="Arial" panose="020B0604020202020204" pitchFamily="34" charset="0"/>
                <a:cs typeface="Arial" panose="020B0604020202020204" pitchFamily="34" charset="0"/>
              </a:rPr>
              <a:t> «ЕШЕБЖ» АЖ</a:t>
            </a:r>
          </a:p>
        </p:txBody>
      </p:sp>
      <p:pic>
        <p:nvPicPr>
          <p:cNvPr id="13329" name="Рисунок 85">
            <a:extLst>
              <a:ext uri="{FF2B5EF4-FFF2-40B4-BE49-F238E27FC236}">
                <a16:creationId xmlns:a16="http://schemas.microsoft.com/office/drawing/2014/main" id="{789532ED-D2E2-22A7-4AEF-A1EAB5291E1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6297613" y="1644650"/>
            <a:ext cx="566737" cy="65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30" name="Рисунок 86">
            <a:extLst>
              <a:ext uri="{FF2B5EF4-FFF2-40B4-BE49-F238E27FC236}">
                <a16:creationId xmlns:a16="http://schemas.microsoft.com/office/drawing/2014/main" id="{F6ADF7F4-D931-4AB0-9042-7A1403934AA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7246938" y="1873250"/>
            <a:ext cx="566737" cy="65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11CF141-2C0E-F463-6B3F-6E2288D9966E}"/>
              </a:ext>
            </a:extLst>
          </p:cNvPr>
          <p:cNvSpPr/>
          <p:nvPr/>
        </p:nvSpPr>
        <p:spPr>
          <a:xfrm>
            <a:off x="6892122" y="1573707"/>
            <a:ext cx="1200149" cy="2788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791779">
              <a:defRPr/>
            </a:pPr>
            <a:r>
              <a:rPr lang="ru-RU" sz="1212" b="1" dirty="0">
                <a:latin typeface="Arial" panose="020B0604020202020204" pitchFamily="34" charset="0"/>
                <a:cs typeface="Arial" panose="020B0604020202020204" pitchFamily="34" charset="0"/>
              </a:rPr>
              <a:t>«ЗТМДБ» АЖ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B3AFF4B-444E-80BA-6F28-8D9C4ACD9EAD}"/>
              </a:ext>
            </a:extLst>
          </p:cNvPr>
          <p:cNvSpPr/>
          <p:nvPr/>
        </p:nvSpPr>
        <p:spPr>
          <a:xfrm>
            <a:off x="7887631" y="2306442"/>
            <a:ext cx="1200150" cy="2778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defTabSz="791779">
              <a:defRPr/>
            </a:pPr>
            <a:r>
              <a:rPr lang="ru-RU" sz="1212" b="1" dirty="0">
                <a:latin typeface="Arial" panose="020B0604020202020204" pitchFamily="34" charset="0"/>
                <a:cs typeface="Arial" panose="020B0604020202020204" pitchFamily="34" charset="0"/>
              </a:rPr>
              <a:t>«ТСОБТ» АЖ</a:t>
            </a:r>
          </a:p>
        </p:txBody>
      </p:sp>
      <p:pic>
        <p:nvPicPr>
          <p:cNvPr id="13333" name="Рисунок 90">
            <a:extLst>
              <a:ext uri="{FF2B5EF4-FFF2-40B4-BE49-F238E27FC236}">
                <a16:creationId xmlns:a16="http://schemas.microsoft.com/office/drawing/2014/main" id="{A1257805-719D-542B-4D83-8C6980CA9DE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8293100" y="1643063"/>
            <a:ext cx="566738" cy="65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35" name="Рисунок 91">
            <a:extLst>
              <a:ext uri="{FF2B5EF4-FFF2-40B4-BE49-F238E27FC236}">
                <a16:creationId xmlns:a16="http://schemas.microsoft.com/office/drawing/2014/main" id="{D4ACEBD5-751B-94C7-256A-E18230A3DAC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9317038" y="1890713"/>
            <a:ext cx="566737" cy="65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36" name="Рисунок 92">
            <a:extLst>
              <a:ext uri="{FF2B5EF4-FFF2-40B4-BE49-F238E27FC236}">
                <a16:creationId xmlns:a16="http://schemas.microsoft.com/office/drawing/2014/main" id="{9FC6BB36-5517-F291-4F81-4EF26A6B4BF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10309225" y="1651000"/>
            <a:ext cx="566738" cy="65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37" name="Рисунок 93">
            <a:extLst>
              <a:ext uri="{FF2B5EF4-FFF2-40B4-BE49-F238E27FC236}">
                <a16:creationId xmlns:a16="http://schemas.microsoft.com/office/drawing/2014/main" id="{59709B71-0424-4D06-D81E-801F71355C8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11255375" y="1881188"/>
            <a:ext cx="566738" cy="65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8AAABA4-783D-F501-F7AF-75D3672106DB}"/>
              </a:ext>
            </a:extLst>
          </p:cNvPr>
          <p:cNvSpPr/>
          <p:nvPr/>
        </p:nvSpPr>
        <p:spPr>
          <a:xfrm>
            <a:off x="8907463" y="1463675"/>
            <a:ext cx="1317625" cy="4651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791779">
              <a:defRPr/>
            </a:pPr>
            <a:r>
              <a:rPr lang="ru-RU" sz="1212" b="1" dirty="0">
                <a:latin typeface="Arial" panose="020B0604020202020204" pitchFamily="34" charset="0"/>
                <a:cs typeface="Arial" panose="020B0604020202020204" pitchFamily="34" charset="0"/>
              </a:rPr>
              <a:t>«Е-</a:t>
            </a:r>
            <a:r>
              <a:rPr lang="en-US" sz="1212" b="1" dirty="0" err="1">
                <a:latin typeface="Arial" panose="020B0604020202020204" pitchFamily="34" charset="0"/>
                <a:cs typeface="Arial" panose="020B0604020202020204" pitchFamily="34" charset="0"/>
              </a:rPr>
              <a:t>Otinish</a:t>
            </a:r>
            <a:r>
              <a:rPr lang="en-US" sz="1212" b="1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212" b="1" dirty="0">
                <a:latin typeface="Arial" panose="020B0604020202020204" pitchFamily="34" charset="0"/>
                <a:cs typeface="Arial" panose="020B0604020202020204" pitchFamily="34" charset="0"/>
              </a:rPr>
              <a:t>АЖ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AD2E0DF7-D2F0-861D-0C9C-312A237673EF}"/>
              </a:ext>
            </a:extLst>
          </p:cNvPr>
          <p:cNvSpPr/>
          <p:nvPr/>
        </p:nvSpPr>
        <p:spPr>
          <a:xfrm>
            <a:off x="10123830" y="2320925"/>
            <a:ext cx="1045479" cy="2788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91779">
              <a:defRPr/>
            </a:pPr>
            <a:r>
              <a:rPr lang="ru-RU" sz="1212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ШЖК» АЖ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1F47E1F-21D0-5886-57B7-A0D003B8CDCE}"/>
              </a:ext>
            </a:extLst>
          </p:cNvPr>
          <p:cNvSpPr/>
          <p:nvPr/>
        </p:nvSpPr>
        <p:spPr>
          <a:xfrm>
            <a:off x="11008860" y="1584325"/>
            <a:ext cx="1091517" cy="2788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91779">
              <a:defRPr/>
            </a:pPr>
            <a:r>
              <a:rPr lang="ru-RU" sz="1212" b="1" dirty="0">
                <a:latin typeface="Arial" panose="020B0604020202020204" pitchFamily="34" charset="0"/>
                <a:cs typeface="Arial" panose="020B0604020202020204" pitchFamily="34" charset="0"/>
              </a:rPr>
              <a:t>«ЕСДБ» АЖ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9D32D6DB-44BD-1A64-8AD7-1582A829272A}"/>
              </a:ext>
            </a:extLst>
          </p:cNvPr>
          <p:cNvCxnSpPr>
            <a:cxnSpLocks/>
          </p:cNvCxnSpPr>
          <p:nvPr/>
        </p:nvCxnSpPr>
        <p:spPr>
          <a:xfrm flipV="1">
            <a:off x="5443538" y="2743200"/>
            <a:ext cx="6478587" cy="0"/>
          </a:xfrm>
          <a:prstGeom prst="line">
            <a:avLst/>
          </a:prstGeom>
          <a:ln w="38100">
            <a:solidFill>
              <a:schemeClr val="accent1">
                <a:alpha val="9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42" name="Google Shape;146;g1dfcdd6f6ef_0_0">
            <a:extLst>
              <a:ext uri="{FF2B5EF4-FFF2-40B4-BE49-F238E27FC236}">
                <a16:creationId xmlns:a16="http://schemas.microsoft.com/office/drawing/2014/main" id="{36D96B9E-5FCB-AA8D-67BA-BC01498127F5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938" y="3907623"/>
            <a:ext cx="493712" cy="51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343" name="Прямая со стрелкой 97">
            <a:extLst>
              <a:ext uri="{FF2B5EF4-FFF2-40B4-BE49-F238E27FC236}">
                <a16:creationId xmlns:a16="http://schemas.microsoft.com/office/drawing/2014/main" id="{501EDF0E-9397-9CB9-9BB9-25D9093B6F51}"/>
              </a:ext>
            </a:extLst>
          </p:cNvPr>
          <p:cNvCxnSpPr>
            <a:cxnSpLocks/>
          </p:cNvCxnSpPr>
          <p:nvPr/>
        </p:nvCxnSpPr>
        <p:spPr bwMode="auto">
          <a:xfrm>
            <a:off x="5686425" y="2756321"/>
            <a:ext cx="0" cy="254000"/>
          </a:xfrm>
          <a:prstGeom prst="straightConnector1">
            <a:avLst/>
          </a:prstGeom>
          <a:noFill/>
          <a:ln w="38100" algn="ctr">
            <a:solidFill>
              <a:srgbClr val="2E75B6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44" name="Прямая со стрелкой 99">
            <a:extLst>
              <a:ext uri="{FF2B5EF4-FFF2-40B4-BE49-F238E27FC236}">
                <a16:creationId xmlns:a16="http://schemas.microsoft.com/office/drawing/2014/main" id="{CBE1CB18-E86D-E5B4-D0A9-95A40E18A769}"/>
              </a:ext>
            </a:extLst>
          </p:cNvPr>
          <p:cNvCxnSpPr>
            <a:cxnSpLocks/>
          </p:cNvCxnSpPr>
          <p:nvPr/>
        </p:nvCxnSpPr>
        <p:spPr bwMode="auto">
          <a:xfrm>
            <a:off x="6669088" y="2756321"/>
            <a:ext cx="0" cy="254000"/>
          </a:xfrm>
          <a:prstGeom prst="straightConnector1">
            <a:avLst/>
          </a:prstGeom>
          <a:noFill/>
          <a:ln w="38100" algn="ctr">
            <a:solidFill>
              <a:srgbClr val="2E75B6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45" name="Прямая со стрелкой 100">
            <a:extLst>
              <a:ext uri="{FF2B5EF4-FFF2-40B4-BE49-F238E27FC236}">
                <a16:creationId xmlns:a16="http://schemas.microsoft.com/office/drawing/2014/main" id="{304EB130-8CA6-BE44-7A62-3E8B3C8C7D90}"/>
              </a:ext>
            </a:extLst>
          </p:cNvPr>
          <p:cNvCxnSpPr>
            <a:cxnSpLocks/>
          </p:cNvCxnSpPr>
          <p:nvPr/>
        </p:nvCxnSpPr>
        <p:spPr bwMode="auto">
          <a:xfrm>
            <a:off x="7672388" y="2756321"/>
            <a:ext cx="0" cy="254000"/>
          </a:xfrm>
          <a:prstGeom prst="straightConnector1">
            <a:avLst/>
          </a:prstGeom>
          <a:noFill/>
          <a:ln w="38100" algn="ctr">
            <a:solidFill>
              <a:srgbClr val="2E75B6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46" name="Прямая со стрелкой 101">
            <a:extLst>
              <a:ext uri="{FF2B5EF4-FFF2-40B4-BE49-F238E27FC236}">
                <a16:creationId xmlns:a16="http://schemas.microsoft.com/office/drawing/2014/main" id="{63108EC4-4FB6-6306-9B8F-683E5C4AB9C2}"/>
              </a:ext>
            </a:extLst>
          </p:cNvPr>
          <p:cNvCxnSpPr>
            <a:cxnSpLocks/>
          </p:cNvCxnSpPr>
          <p:nvPr/>
        </p:nvCxnSpPr>
        <p:spPr bwMode="auto">
          <a:xfrm>
            <a:off x="8643938" y="2756321"/>
            <a:ext cx="0" cy="254000"/>
          </a:xfrm>
          <a:prstGeom prst="straightConnector1">
            <a:avLst/>
          </a:prstGeom>
          <a:noFill/>
          <a:ln w="38100" algn="ctr">
            <a:solidFill>
              <a:srgbClr val="2E75B6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47" name="Прямая со стрелкой 102">
            <a:extLst>
              <a:ext uri="{FF2B5EF4-FFF2-40B4-BE49-F238E27FC236}">
                <a16:creationId xmlns:a16="http://schemas.microsoft.com/office/drawing/2014/main" id="{0C3E07DF-7588-282E-D503-19D179C119EE}"/>
              </a:ext>
            </a:extLst>
          </p:cNvPr>
          <p:cNvCxnSpPr>
            <a:cxnSpLocks/>
          </p:cNvCxnSpPr>
          <p:nvPr/>
        </p:nvCxnSpPr>
        <p:spPr bwMode="auto">
          <a:xfrm>
            <a:off x="9588500" y="2756321"/>
            <a:ext cx="0" cy="254000"/>
          </a:xfrm>
          <a:prstGeom prst="straightConnector1">
            <a:avLst/>
          </a:prstGeom>
          <a:noFill/>
          <a:ln w="38100" algn="ctr">
            <a:solidFill>
              <a:srgbClr val="2E75B6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48" name="Прямая со стрелкой 103">
            <a:extLst>
              <a:ext uri="{FF2B5EF4-FFF2-40B4-BE49-F238E27FC236}">
                <a16:creationId xmlns:a16="http://schemas.microsoft.com/office/drawing/2014/main" id="{02A024DB-2E29-7FC1-944A-91D4952D76B2}"/>
              </a:ext>
            </a:extLst>
          </p:cNvPr>
          <p:cNvCxnSpPr>
            <a:cxnSpLocks/>
          </p:cNvCxnSpPr>
          <p:nvPr/>
        </p:nvCxnSpPr>
        <p:spPr bwMode="auto">
          <a:xfrm>
            <a:off x="10596563" y="2752247"/>
            <a:ext cx="0" cy="254000"/>
          </a:xfrm>
          <a:prstGeom prst="straightConnector1">
            <a:avLst/>
          </a:prstGeom>
          <a:noFill/>
          <a:ln w="38100" algn="ctr">
            <a:solidFill>
              <a:srgbClr val="2E75B6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49" name="Прямая со стрелкой 104">
            <a:extLst>
              <a:ext uri="{FF2B5EF4-FFF2-40B4-BE49-F238E27FC236}">
                <a16:creationId xmlns:a16="http://schemas.microsoft.com/office/drawing/2014/main" id="{93E34FEE-C713-CC47-D4D8-F196A2201500}"/>
              </a:ext>
            </a:extLst>
          </p:cNvPr>
          <p:cNvCxnSpPr>
            <a:cxnSpLocks/>
          </p:cNvCxnSpPr>
          <p:nvPr/>
        </p:nvCxnSpPr>
        <p:spPr bwMode="auto">
          <a:xfrm>
            <a:off x="11571288" y="2758387"/>
            <a:ext cx="0" cy="252412"/>
          </a:xfrm>
          <a:prstGeom prst="straightConnector1">
            <a:avLst/>
          </a:prstGeom>
          <a:noFill/>
          <a:ln w="38100" algn="ctr">
            <a:solidFill>
              <a:srgbClr val="2E75B6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5E6F107-3B64-F0E9-D325-AB205C1BDA9A}"/>
              </a:ext>
            </a:extLst>
          </p:cNvPr>
          <p:cNvSpPr/>
          <p:nvPr/>
        </p:nvSpPr>
        <p:spPr>
          <a:xfrm>
            <a:off x="5311775" y="3107523"/>
            <a:ext cx="6577013" cy="273050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параттық</a:t>
            </a:r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лерден</a:t>
            </a:r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ліметтерді</a:t>
            </a:r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ау</a:t>
            </a:r>
            <a:endParaRPr lang="ru-R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351" name="Рисунок 23" descr="Полиция">
            <a:extLst>
              <a:ext uri="{FF2B5EF4-FFF2-40B4-BE49-F238E27FC236}">
                <a16:creationId xmlns:a16="http://schemas.microsoft.com/office/drawing/2014/main" id="{45BE0DDE-DE13-A133-4006-FBF3FC8572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7170" y="4983163"/>
            <a:ext cx="614363" cy="56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6116" name="Прямоугольник 346115">
            <a:extLst>
              <a:ext uri="{FF2B5EF4-FFF2-40B4-BE49-F238E27FC236}">
                <a16:creationId xmlns:a16="http://schemas.microsoft.com/office/drawing/2014/main" id="{55CB81A4-13B7-862A-85F4-BC3289B166A9}"/>
              </a:ext>
            </a:extLst>
          </p:cNvPr>
          <p:cNvSpPr/>
          <p:nvPr/>
        </p:nvSpPr>
        <p:spPr>
          <a:xfrm>
            <a:off x="5245101" y="5761777"/>
            <a:ext cx="2166938" cy="5757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106363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серулерді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у</a:t>
            </a:r>
            <a:r>
              <a:rPr lang="ru-RU" sz="9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90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ның</a:t>
            </a:r>
            <a:r>
              <a:rPr lang="ru-RU" sz="9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9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шықтан</a:t>
            </a:r>
            <a:r>
              <a:rPr lang="ru-RU" sz="9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 marL="285750" indent="-106363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йрық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ару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ыппұл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..</a:t>
            </a:r>
          </a:p>
        </p:txBody>
      </p:sp>
      <p:sp>
        <p:nvSpPr>
          <p:cNvPr id="129" name="Прямоугольник 128">
            <a:extLst>
              <a:ext uri="{FF2B5EF4-FFF2-40B4-BE49-F238E27FC236}">
                <a16:creationId xmlns:a16="http://schemas.microsoft.com/office/drawing/2014/main" id="{FCF70312-DCF2-551A-3338-98B179C3221A}"/>
              </a:ext>
            </a:extLst>
          </p:cNvPr>
          <p:cNvSpPr/>
          <p:nvPr/>
        </p:nvSpPr>
        <p:spPr>
          <a:xfrm>
            <a:off x="9498053" y="5721349"/>
            <a:ext cx="2502186" cy="810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106363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лған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зушылықтарды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ю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106363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9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тік</a:t>
            </a:r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і</a:t>
            </a:r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әтижелері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уіпсіз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ларын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endParaRPr lang="ru-RU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6117" name="Прямоугольник 346116">
            <a:extLst>
              <a:ext uri="{FF2B5EF4-FFF2-40B4-BE49-F238E27FC236}">
                <a16:creationId xmlns:a16="http://schemas.microsoft.com/office/drawing/2014/main" id="{E471518C-C7A2-978A-F6AD-EC29E3C8D1EF}"/>
              </a:ext>
            </a:extLst>
          </p:cNvPr>
          <p:cNvSpPr/>
          <p:nvPr/>
        </p:nvSpPr>
        <p:spPr>
          <a:xfrm>
            <a:off x="5608638" y="5065713"/>
            <a:ext cx="1803400" cy="285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спекторы</a:t>
            </a:r>
          </a:p>
        </p:txBody>
      </p:sp>
      <p:sp>
        <p:nvSpPr>
          <p:cNvPr id="131" name="Прямоугольник 130">
            <a:extLst>
              <a:ext uri="{FF2B5EF4-FFF2-40B4-BE49-F238E27FC236}">
                <a16:creationId xmlns:a16="http://schemas.microsoft.com/office/drawing/2014/main" id="{CD7F1E84-749A-7B64-B38D-C04340627278}"/>
              </a:ext>
            </a:extLst>
          </p:cNvPr>
          <p:cNvSpPr/>
          <p:nvPr/>
        </p:nvSpPr>
        <p:spPr>
          <a:xfrm>
            <a:off x="9929999" y="4983163"/>
            <a:ext cx="2114364" cy="5651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0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ші</a:t>
            </a:r>
            <a:r>
              <a:rPr lang="ru-RU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тік</a:t>
            </a:r>
            <a:r>
              <a:rPr lang="ru-RU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ес</a:t>
            </a:r>
            <a:endParaRPr lang="ru-RU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калық</a:t>
            </a:r>
            <a:r>
              <a:rPr lang="ru-RU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пекторлар</a:t>
            </a:r>
            <a:r>
              <a:rPr lang="ru-RU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pic>
        <p:nvPicPr>
          <p:cNvPr id="13361" name="Рисунок 23" descr="Полиция">
            <a:extLst>
              <a:ext uri="{FF2B5EF4-FFF2-40B4-BE49-F238E27FC236}">
                <a16:creationId xmlns:a16="http://schemas.microsoft.com/office/drawing/2014/main" id="{86C4D914-C5E8-7BAC-4B79-4FAE9788C0AA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401588" y="1260364"/>
            <a:ext cx="619124" cy="692977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7333A386-D5D0-CB36-D164-48FBA6034FBA}"/>
              </a:ext>
            </a:extLst>
          </p:cNvPr>
          <p:cNvSpPr/>
          <p:nvPr/>
        </p:nvSpPr>
        <p:spPr>
          <a:xfrm>
            <a:off x="1050924" y="1230313"/>
            <a:ext cx="1844675" cy="285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спекторы</a:t>
            </a:r>
          </a:p>
        </p:txBody>
      </p:sp>
      <p:pic>
        <p:nvPicPr>
          <p:cNvPr id="89" name="Picture 30" descr="ÐÐ°ÑÑÐ¸Ð½ÐºÐ¸ Ð¿Ð¾ Ð·Ð°Ð¿ÑÐ¾ÑÑ Ð¸ÐºÐ¾Ð½ÐºÐ°  ÑÐ°Ð±Ð¾ÑÐ°">
            <a:extLst>
              <a:ext uri="{FF2B5EF4-FFF2-40B4-BE49-F238E27FC236}">
                <a16:creationId xmlns:a16="http://schemas.microsoft.com/office/drawing/2014/main" id="{95F181D3-554E-F905-53FB-926D26EFF9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duotone>
              <a:srgbClr val="5B9BD5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>
            <a:off x="449246" y="3163158"/>
            <a:ext cx="556485" cy="587750"/>
          </a:xfrm>
          <a:prstGeom prst="rect">
            <a:avLst/>
          </a:prstGeom>
          <a:noFill/>
        </p:spPr>
      </p:pic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DD771D2A-1A1C-475B-3EB8-0221863A6962}"/>
              </a:ext>
            </a:extLst>
          </p:cNvPr>
          <p:cNvSpPr/>
          <p:nvPr/>
        </p:nvSpPr>
        <p:spPr>
          <a:xfrm>
            <a:off x="962025" y="3062288"/>
            <a:ext cx="1682750" cy="317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ші</a:t>
            </a:r>
            <a:endParaRPr lang="ru-RU" sz="1212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6" name="Рисунок 95">
            <a:extLst>
              <a:ext uri="{FF2B5EF4-FFF2-40B4-BE49-F238E27FC236}">
                <a16:creationId xmlns:a16="http://schemas.microsoft.com/office/drawing/2014/main" id="{FD028BD7-A17C-8724-F525-0E67F022C31B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srgbClr val="5B9BD5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439140" y="4662843"/>
            <a:ext cx="637777" cy="634921"/>
          </a:xfrm>
          <a:prstGeom prst="rect">
            <a:avLst/>
          </a:prstGeom>
        </p:spPr>
      </p:pic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id="{688F6A02-4AE5-558A-0900-AB2AA4028E05}"/>
              </a:ext>
            </a:extLst>
          </p:cNvPr>
          <p:cNvSpPr/>
          <p:nvPr/>
        </p:nvSpPr>
        <p:spPr>
          <a:xfrm>
            <a:off x="795338" y="4489450"/>
            <a:ext cx="3030537" cy="6556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тік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ес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калық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пекторлар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63E40F08-0F44-DA06-9392-C7CF14BC6642}"/>
              </a:ext>
            </a:extLst>
          </p:cNvPr>
          <p:cNvSpPr/>
          <p:nvPr/>
        </p:nvSpPr>
        <p:spPr>
          <a:xfrm>
            <a:off x="1292225" y="1395413"/>
            <a:ext cx="2930525" cy="13096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ъектісін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рынғы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серулердің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әтижелері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орын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і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мен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ңдау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05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5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серумен</a:t>
            </a:r>
            <a:r>
              <a:rPr lang="ru-RU" sz="105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у</a:t>
            </a:r>
            <a:r>
              <a:rPr lang="ru-RU" sz="105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орындардың</a:t>
            </a:r>
            <a:r>
              <a:rPr lang="ru-RU" sz="105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sz="105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ының</a:t>
            </a:r>
            <a:r>
              <a:rPr lang="ru-RU" sz="105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,5% </a:t>
            </a:r>
            <a:r>
              <a:rPr lang="ru-RU" sz="105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r>
              <a:rPr lang="ru-RU" sz="105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2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Прямоугольник 110">
            <a:extLst>
              <a:ext uri="{FF2B5EF4-FFF2-40B4-BE49-F238E27FC236}">
                <a16:creationId xmlns:a16="http://schemas.microsoft.com/office/drawing/2014/main" id="{82C356A6-3498-6899-253B-1A6620F2CCD7}"/>
              </a:ext>
            </a:extLst>
          </p:cNvPr>
          <p:cNvSpPr/>
          <p:nvPr/>
        </p:nvSpPr>
        <p:spPr>
          <a:xfrm>
            <a:off x="1300163" y="2998788"/>
            <a:ext cx="2998787" cy="13319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ларын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кі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дың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тандырылған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дартының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мауы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Прямоугольник 111">
            <a:extLst>
              <a:ext uri="{FF2B5EF4-FFF2-40B4-BE49-F238E27FC236}">
                <a16:creationId xmlns:a16="http://schemas.microsoft.com/office/drawing/2014/main" id="{E828F70F-36BA-3DB8-5BBF-53406BF6CE09}"/>
              </a:ext>
            </a:extLst>
          </p:cNvPr>
          <p:cNvSpPr/>
          <p:nvPr/>
        </p:nvSpPr>
        <p:spPr>
          <a:xfrm>
            <a:off x="1341438" y="4722813"/>
            <a:ext cx="3114675" cy="13096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ларын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серу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кілеттіктердің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ректерге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імділіктің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мауы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E87286A1-394B-DD00-1F28-1662DD91A185}"/>
              </a:ext>
            </a:extLst>
          </p:cNvPr>
          <p:cNvCxnSpPr>
            <a:cxnSpLocks/>
          </p:cNvCxnSpPr>
          <p:nvPr/>
        </p:nvCxnSpPr>
        <p:spPr>
          <a:xfrm>
            <a:off x="127795" y="622301"/>
            <a:ext cx="115617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Равнобедренный треугольник 17">
            <a:extLst>
              <a:ext uri="{FF2B5EF4-FFF2-40B4-BE49-F238E27FC236}">
                <a16:creationId xmlns:a16="http://schemas.microsoft.com/office/drawing/2014/main" id="{9420CB4D-9548-423E-4807-FBFDB3FACDBA}"/>
              </a:ext>
            </a:extLst>
          </p:cNvPr>
          <p:cNvSpPr/>
          <p:nvPr/>
        </p:nvSpPr>
        <p:spPr>
          <a:xfrm rot="10800000">
            <a:off x="6846888" y="3450423"/>
            <a:ext cx="3556000" cy="115887"/>
          </a:xfrm>
          <a:prstGeom prst="triangle">
            <a:avLst/>
          </a:prstGeom>
          <a:solidFill>
            <a:srgbClr val="DEEBF7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Равнобедренный треугольник 18">
            <a:extLst>
              <a:ext uri="{FF2B5EF4-FFF2-40B4-BE49-F238E27FC236}">
                <a16:creationId xmlns:a16="http://schemas.microsoft.com/office/drawing/2014/main" id="{EC078B22-E8C6-16CB-9C4C-5D1FD4133086}"/>
              </a:ext>
            </a:extLst>
          </p:cNvPr>
          <p:cNvSpPr/>
          <p:nvPr/>
        </p:nvSpPr>
        <p:spPr>
          <a:xfrm rot="10800000">
            <a:off x="6753225" y="4673599"/>
            <a:ext cx="3556000" cy="115888"/>
          </a:xfrm>
          <a:prstGeom prst="triangle">
            <a:avLst/>
          </a:prstGeom>
          <a:solidFill>
            <a:srgbClr val="DEEBF7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369" name="Номер слайда 8">
            <a:extLst>
              <a:ext uri="{FF2B5EF4-FFF2-40B4-BE49-F238E27FC236}">
                <a16:creationId xmlns:a16="http://schemas.microsoft.com/office/drawing/2014/main" id="{8394875E-7C27-CDCE-FD78-14C7CCDB6E5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9380538" y="6492875"/>
            <a:ext cx="27432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B0421E6C-ED2E-45A7-9120-268BEB4480DD}" type="slidenum">
              <a:rPr lang="ru-RU" altLang="ru-RU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9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38FC4A1-788C-B4A7-6DD2-2DEE9A8DB87D}"/>
              </a:ext>
            </a:extLst>
          </p:cNvPr>
          <p:cNvSpPr txBox="1"/>
          <p:nvPr/>
        </p:nvSpPr>
        <p:spPr>
          <a:xfrm>
            <a:off x="330000" y="240784"/>
            <a:ext cx="116572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ҢБЕКТІ ҚОРҒАУДЫҢ ЖАҢА ИДЕОЛОГИЯСЫ:  </a:t>
            </a:r>
            <a:r>
              <a:rPr kumimoji="0" lang="ru-RU" alt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млекеттік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қылау-кәсіптік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әуекелдерді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сқару</a:t>
            </a:r>
            <a:endParaRPr kumimoji="0" lang="ru-RU" alt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0" name="Прямоугольник 7"/>
          <p:cNvSpPr>
            <a:spLocks noChangeArrowheads="1"/>
          </p:cNvSpPr>
          <p:nvPr/>
        </p:nvSpPr>
        <p:spPr bwMode="auto">
          <a:xfrm>
            <a:off x="8136837" y="4923873"/>
            <a:ext cx="1663453" cy="5539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ru-RU" sz="1000" b="1" dirty="0" err="1">
                <a:latin typeface="Poppins Semi-Bold"/>
                <a:cs typeface="Arial" panose="020B0604020202020204" pitchFamily="34" charset="0"/>
              </a:rPr>
              <a:t>Мобильді</a:t>
            </a:r>
            <a:r>
              <a:rPr lang="ru-RU" sz="1000" b="1" dirty="0">
                <a:latin typeface="Poppins Semi-Bold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Poppins Semi-Bold"/>
                <a:cs typeface="Arial" panose="020B0604020202020204" pitchFamily="34" charset="0"/>
              </a:rPr>
              <a:t>бақылау</a:t>
            </a:r>
            <a:r>
              <a:rPr lang="ru-RU" sz="1000" b="1" dirty="0">
                <a:latin typeface="Poppins Semi-Bold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Poppins Semi-Bold"/>
                <a:cs typeface="Arial" panose="020B0604020202020204" pitchFamily="34" charset="0"/>
              </a:rPr>
              <a:t>қосымшасы</a:t>
            </a:r>
            <a:endParaRPr lang="ru-RU" sz="1000" b="1" dirty="0">
              <a:latin typeface="Poppins Semi-Bold"/>
              <a:cs typeface="Arial" panose="020B0604020202020204" pitchFamily="34" charset="0"/>
            </a:endParaRPr>
          </a:p>
          <a:p>
            <a:r>
              <a:rPr lang="ru-RU" sz="1000" b="1" dirty="0" err="1">
                <a:latin typeface="Poppins Semi-Bold"/>
                <a:cs typeface="Arial" panose="020B0604020202020204" pitchFamily="34" charset="0"/>
              </a:rPr>
              <a:t>және</a:t>
            </a:r>
            <a:r>
              <a:rPr lang="ru-RU" sz="1000" b="1" dirty="0">
                <a:latin typeface="Poppins Semi-Bold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Poppins Semi-Bold"/>
                <a:cs typeface="Arial" panose="020B0604020202020204" pitchFamily="34" charset="0"/>
              </a:rPr>
              <a:t>бақылау</a:t>
            </a:r>
            <a:endParaRPr lang="ru-RU" sz="1000" b="1" dirty="0">
              <a:latin typeface="Poppins Semi-Bold"/>
              <a:cs typeface="Arial" panose="020B0604020202020204" pitchFamily="34" charset="0"/>
            </a:endParaRPr>
          </a:p>
        </p:txBody>
      </p:sp>
      <p:sp>
        <p:nvSpPr>
          <p:cNvPr id="61" name="Прямоугольник 7"/>
          <p:cNvSpPr>
            <a:spLocks noChangeArrowheads="1"/>
          </p:cNvSpPr>
          <p:nvPr/>
        </p:nvSpPr>
        <p:spPr bwMode="auto">
          <a:xfrm>
            <a:off x="7551646" y="5603108"/>
            <a:ext cx="1872121" cy="3693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just"/>
            <a:r>
              <a:rPr lang="ru-RU" sz="900" b="1" dirty="0" err="1"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sz="9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latin typeface="Arial" panose="020B0604020202020204" pitchFamily="34" charset="0"/>
                <a:cs typeface="Arial" panose="020B0604020202020204" pitchFamily="34" charset="0"/>
              </a:rPr>
              <a:t>органдары</a:t>
            </a:r>
            <a:r>
              <a:rPr lang="ru-RU" sz="900" b="1" dirty="0">
                <a:latin typeface="Poppins Semi-Bold"/>
                <a:cs typeface="Arial" panose="020B0604020202020204" pitchFamily="34" charset="0"/>
              </a:rPr>
              <a:t>: </a:t>
            </a:r>
            <a:r>
              <a:rPr lang="ru-RU" sz="900" u="sng" dirty="0" err="1">
                <a:latin typeface="Poppins Semi-Bold"/>
                <a:cs typeface="Arial" panose="020B0604020202020204" pitchFamily="34" charset="0"/>
              </a:rPr>
              <a:t>ЕжХӘҚМ</a:t>
            </a:r>
            <a:r>
              <a:rPr lang="ru-RU" sz="900" u="sng" dirty="0">
                <a:latin typeface="Poppins Semi-Bold"/>
                <a:cs typeface="Arial" panose="020B0604020202020204" pitchFamily="34" charset="0"/>
              </a:rPr>
              <a:t>,</a:t>
            </a:r>
          </a:p>
          <a:p>
            <a:pPr algn="just"/>
            <a:r>
              <a:rPr lang="ru-RU" sz="900" u="sng" dirty="0">
                <a:latin typeface="Poppins Semi-Bold"/>
                <a:cs typeface="Arial" panose="020B0604020202020204" pitchFamily="34" charset="0"/>
              </a:rPr>
              <a:t>ТЖМ, БП, ДСМ, ӘМ, ҚМ, ЖБО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7392784" y="6030771"/>
            <a:ext cx="21670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71450">
              <a:buFont typeface="Arial" panose="020B0604020202020204" pitchFamily="34" charset="0"/>
              <a:buChar char="•"/>
            </a:pPr>
            <a:r>
              <a:rPr lang="ru-RU" sz="900" dirty="0" err="1">
                <a:latin typeface="Arial" panose="020B0604020202020204" pitchFamily="34" charset="0"/>
                <a:cs typeface="Arial" panose="020B0604020202020204" pitchFamily="34" charset="0"/>
              </a:rPr>
              <a:t>Жедел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  <a:cs typeface="Arial" panose="020B0604020202020204" pitchFamily="34" charset="0"/>
              </a:rPr>
              <a:t>жауап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 беру;</a:t>
            </a:r>
          </a:p>
          <a:p>
            <a:pPr indent="-171450">
              <a:buFont typeface="Arial" panose="020B0604020202020204" pitchFamily="34" charset="0"/>
              <a:buChar char="•"/>
            </a:pP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-171450">
              <a:buFont typeface="Arial" panose="020B0604020202020204" pitchFamily="34" charset="0"/>
              <a:buChar char="•"/>
            </a:pPr>
            <a:r>
              <a:rPr lang="ru-RU" sz="900" dirty="0" err="1">
                <a:latin typeface="Arial" panose="020B0604020202020204" pitchFamily="34" charset="0"/>
                <a:cs typeface="Arial" panose="020B0604020202020204" pitchFamily="34" charset="0"/>
              </a:rPr>
              <a:t>Тексеру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  <a:cs typeface="Arial" panose="020B0604020202020204" pitchFamily="34" charset="0"/>
              </a:rPr>
              <a:t>орнында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  <a:cs typeface="Arial" panose="020B0604020202020204" pitchFamily="34" charset="0"/>
              </a:rPr>
              <a:t>жүйелік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</a:p>
          <a:p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90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рді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65" name="Рисунок 64"/>
          <p:cNvPicPr>
            <a:picLocks noChangeAspect="1"/>
          </p:cNvPicPr>
          <p:nvPr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540" y="5034626"/>
            <a:ext cx="443085" cy="496491"/>
          </a:xfrm>
          <a:prstGeom prst="rect">
            <a:avLst/>
          </a:prstGeom>
        </p:spPr>
      </p:pic>
      <p:pic>
        <p:nvPicPr>
          <p:cNvPr id="143" name="Picture 30" descr="ÐÐ°ÑÑÐ¸Ð½ÐºÐ¸ Ð¿Ð¾ Ð·Ð°Ð¿ÑÐ¾ÑÑ Ð¸ÐºÐ¾Ð½ÐºÐ°  ÑÐ°Ð±Ð¾ÑÐ°">
            <a:extLst>
              <a:ext uri="{FF2B5EF4-FFF2-40B4-BE49-F238E27FC236}">
                <a16:creationId xmlns:a16="http://schemas.microsoft.com/office/drawing/2014/main" id="{4751FFCE-6274-1C78-0589-4F4D3EC0D3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duotone>
              <a:srgbClr val="5B9BD5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>
            <a:off x="9498053" y="5026068"/>
            <a:ext cx="453842" cy="479340"/>
          </a:xfrm>
          <a:prstGeom prst="rect">
            <a:avLst/>
          </a:prstGeom>
          <a:noFill/>
        </p:spPr>
      </p:pic>
      <p:cxnSp>
        <p:nvCxnSpPr>
          <p:cNvPr id="16" name="Прямая соединительная линия 15"/>
          <p:cNvCxnSpPr>
            <a:stCxn id="346117" idx="3"/>
          </p:cNvCxnSpPr>
          <p:nvPr/>
        </p:nvCxnSpPr>
        <p:spPr>
          <a:xfrm>
            <a:off x="7412038" y="5208588"/>
            <a:ext cx="0" cy="1323180"/>
          </a:xfrm>
          <a:prstGeom prst="line">
            <a:avLst/>
          </a:prstGeom>
          <a:ln>
            <a:prstDash val="dash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9380538" y="5201490"/>
            <a:ext cx="0" cy="1323180"/>
          </a:xfrm>
          <a:prstGeom prst="line">
            <a:avLst/>
          </a:prstGeom>
          <a:ln>
            <a:prstDash val="dash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355AA7C-ED91-EC96-96EB-FA308D303275}"/>
              </a:ext>
            </a:extLst>
          </p:cNvPr>
          <p:cNvSpPr/>
          <p:nvPr/>
        </p:nvSpPr>
        <p:spPr>
          <a:xfrm>
            <a:off x="5159087" y="1554004"/>
            <a:ext cx="1205779" cy="2788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91779">
              <a:defRPr/>
            </a:pPr>
            <a:r>
              <a:rPr lang="ru-RU" sz="1212" b="1" kern="0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1212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ЕҚжЕҚ</a:t>
            </a:r>
            <a:r>
              <a:rPr lang="ru-RU" sz="1212" b="1" kern="0" dirty="0">
                <a:latin typeface="Arial" panose="020B0604020202020204" pitchFamily="34" charset="0"/>
                <a:cs typeface="Arial" panose="020B0604020202020204" pitchFamily="34" charset="0"/>
              </a:rPr>
              <a:t>» АЖ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VjYbofqC1G7FHwS38Sh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32</TotalTime>
  <Words>1424</Words>
  <Application>Microsoft Office PowerPoint</Application>
  <PresentationFormat>Широкоэкранный</PresentationFormat>
  <Paragraphs>406</Paragraphs>
  <Slides>11</Slides>
  <Notes>4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2" baseType="lpstr"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жумагулова</dc:creator>
  <cp:lastModifiedBy>Alieva Amina</cp:lastModifiedBy>
  <cp:revision>199</cp:revision>
  <cp:lastPrinted>2023-11-23T12:59:59Z</cp:lastPrinted>
  <dcterms:created xsi:type="dcterms:W3CDTF">2023-04-24T05:34:45Z</dcterms:created>
  <dcterms:modified xsi:type="dcterms:W3CDTF">2023-12-04T09:04:51Z</dcterms:modified>
</cp:coreProperties>
</file>